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6"/>
  </p:notesMasterIdLst>
  <p:handoutMasterIdLst>
    <p:handoutMasterId r:id="rId17"/>
  </p:handoutMasterIdLst>
  <p:sldIdLst>
    <p:sldId id="256" r:id="rId5"/>
    <p:sldId id="2147376554" r:id="rId6"/>
    <p:sldId id="2147376542" r:id="rId7"/>
    <p:sldId id="2147376550" r:id="rId8"/>
    <p:sldId id="2147376551" r:id="rId9"/>
    <p:sldId id="2147376545" r:id="rId10"/>
    <p:sldId id="257" r:id="rId11"/>
    <p:sldId id="2147376546" r:id="rId12"/>
    <p:sldId id="2147376547" r:id="rId13"/>
    <p:sldId id="2147376553" r:id="rId14"/>
    <p:sldId id="2147376549" r:id="rId15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7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F44D47"/>
    <a:srgbClr val="666666"/>
    <a:srgbClr val="E32119"/>
    <a:srgbClr val="000000"/>
    <a:srgbClr val="FDC304"/>
    <a:srgbClr val="82CBD4"/>
    <a:srgbClr val="95C121"/>
    <a:srgbClr val="EF7E05"/>
    <a:srgbClr val="1BACE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50" autoAdjust="0"/>
    <p:restoredTop sz="93792" autoAdjust="0"/>
  </p:normalViewPr>
  <p:slideViewPr>
    <p:cSldViewPr snapToGrid="0">
      <p:cViewPr varScale="1">
        <p:scale>
          <a:sx n="61" d="100"/>
          <a:sy n="61" d="100"/>
        </p:scale>
        <p:origin x="56" y="240"/>
      </p:cViewPr>
      <p:guideLst>
        <p:guide orient="horz" pos="377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1868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12/05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12/05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835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029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sitting at a table&#10;&#10;Description automatically generated">
            <a:extLst>
              <a:ext uri="{FF2B5EF4-FFF2-40B4-BE49-F238E27FC236}">
                <a16:creationId xmlns:a16="http://schemas.microsoft.com/office/drawing/2014/main" id="{3747B2C2-D7DB-F96A-CA19-BCB21C005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5"/>
          <a:stretch/>
        </p:blipFill>
        <p:spPr>
          <a:xfrm>
            <a:off x="0" y="0"/>
            <a:ext cx="12209138" cy="6857999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673D9D7-75A6-4AE4-226E-79C397A287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6CB0B91-34B3-9F5A-BAC8-A94E7886C5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CBE09BC7-40D7-5252-6C1C-F503A117A8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652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D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red dart hitting the center of a dartboard&#10;&#10;Description automatically generated">
            <a:extLst>
              <a:ext uri="{FF2B5EF4-FFF2-40B4-BE49-F238E27FC236}">
                <a16:creationId xmlns:a16="http://schemas.microsoft.com/office/drawing/2014/main" id="{06ECAB87-E9E8-9269-808A-AE4DA532E9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7989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7F44D47-D220-6FFA-2D73-0A6D2C428F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FC88151-035A-659B-D320-5D73A11CB74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DBCA269-E9DF-2374-02B1-C006B6314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8073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group of kids pulling a rope&#10;&#10;Description automatically generated">
            <a:extLst>
              <a:ext uri="{FF2B5EF4-FFF2-40B4-BE49-F238E27FC236}">
                <a16:creationId xmlns:a16="http://schemas.microsoft.com/office/drawing/2014/main" id="{56250658-E613-41DD-E1F3-EBA5C6916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5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32146C0-C60E-7AAF-EBD4-64C0DB26B87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8D150C-BED2-6991-33E2-B68B31852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CC9F6F-C062-025D-B837-A281429D7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47435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100677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single title, upper cas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10039124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ADCCE5-13D3-CE70-0806-5B9AFDFE4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1BA0255-B68A-F247-A437-8EA951266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475563C-D454-5866-91F5-422E7E96B7D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567530D-C0DE-CB06-FBF9-CAD198CA90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33A244C7-8D54-ABB4-6BD3-94A6070E2A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190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1009627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double title,</a:t>
            </a:r>
            <a:br>
              <a:rPr lang="en-US" dirty="0"/>
            </a:br>
            <a:r>
              <a:rPr lang="en-US" dirty="0"/>
              <a:t>upper cas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5" y="1468614"/>
            <a:ext cx="10067699" cy="27591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E697FE-9F90-4E61-A5A4-654ACBE73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A0B263F-3014-55F6-0546-D7E9A23B80C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157C870-9501-4331-FCE1-7C5D289D15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CE69A10F-CEFA-57E0-B395-AB5769B8DD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EEC3C1A-4249-C6CD-BEE3-3632FD25D9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i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lose-up of a windmill&#10;&#10;Description automatically generated">
            <a:extLst>
              <a:ext uri="{FF2B5EF4-FFF2-40B4-BE49-F238E27FC236}">
                <a16:creationId xmlns:a16="http://schemas.microsoft.com/office/drawing/2014/main" id="{615FB81F-FAC9-B398-6A98-C241E9E2DE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7972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00F66D9-CD2E-B4EF-3856-45381210F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189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reading a paper&#10;&#10;Description automatically generated">
            <a:extLst>
              <a:ext uri="{FF2B5EF4-FFF2-40B4-BE49-F238E27FC236}">
                <a16:creationId xmlns:a16="http://schemas.microsoft.com/office/drawing/2014/main" id="{3747269B-3FFA-D268-DCDB-A7CC7BCCA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199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2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4B8FB92-66BA-B898-5637-878EF6BC97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011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h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hild sitting in a chair with his feet on the radiator&#10;&#10;Description automatically generated">
            <a:extLst>
              <a:ext uri="{FF2B5EF4-FFF2-40B4-BE49-F238E27FC236}">
                <a16:creationId xmlns:a16="http://schemas.microsoft.com/office/drawing/2014/main" id="{CEAC376B-CCB0-2363-6C56-83FCF3F8C8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0DE8BC-FDB4-6154-C871-0783F60E23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604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Sun shining through the leaves of a plant&#10;&#10;Description automatically generated">
            <a:extLst>
              <a:ext uri="{FF2B5EF4-FFF2-40B4-BE49-F238E27FC236}">
                <a16:creationId xmlns:a16="http://schemas.microsoft.com/office/drawing/2014/main" id="{F18017F1-DFA3-5309-EB08-6A9E10AE34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161" cy="68621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4177"/>
            <a:ext cx="12203553" cy="6862177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E0E154-6A25-2A4A-3E15-9C6348423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7083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opening a letter&#10;&#10;Description automatically generated">
            <a:extLst>
              <a:ext uri="{FF2B5EF4-FFF2-40B4-BE49-F238E27FC236}">
                <a16:creationId xmlns:a16="http://schemas.microsoft.com/office/drawing/2014/main" id="{FD803DEC-AE53-3DD8-25E4-14BC033CC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6404FCE-67E0-37DA-59FC-590BE9BFFF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06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holding a trophy&#10;&#10;Description automatically generated">
            <a:extLst>
              <a:ext uri="{FF2B5EF4-FFF2-40B4-BE49-F238E27FC236}">
                <a16:creationId xmlns:a16="http://schemas.microsoft.com/office/drawing/2014/main" id="{98EA204B-B88F-774C-B8FC-1737FCFE63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0341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8B2B9B5B-81FB-F17D-3E14-3636164713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8666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74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DBB20C6A-C347-EBF1-B98B-A8DF1551C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FF5E309-D550-02BD-695F-41FC141132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5" name="Text Placeholder 37">
            <a:extLst>
              <a:ext uri="{FF2B5EF4-FFF2-40B4-BE49-F238E27FC236}">
                <a16:creationId xmlns:a16="http://schemas.microsoft.com/office/drawing/2014/main" id="{37474BBE-261E-CE92-2409-6CC0FC03F0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93638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jumping in the air&#10;&#10;Description automatically generated">
            <a:extLst>
              <a:ext uri="{FF2B5EF4-FFF2-40B4-BE49-F238E27FC236}">
                <a16:creationId xmlns:a16="http://schemas.microsoft.com/office/drawing/2014/main" id="{C7A8A9E9-53E7-CAF4-4CAC-31F63B2E93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4018" y="0"/>
            <a:ext cx="12196017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0"/>
            <a:ext cx="12196017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834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elc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group of women hugging in a doorway&#10;&#10;Description automatically generated">
            <a:extLst>
              <a:ext uri="{FF2B5EF4-FFF2-40B4-BE49-F238E27FC236}">
                <a16:creationId xmlns:a16="http://schemas.microsoft.com/office/drawing/2014/main" id="{44F0A615-6D8F-D83D-B4CF-11D559B3F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1"/>
            <a:ext cx="1219200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1999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795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1E7AB0-5A82-805E-31C3-ACFDAB4A4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0B18E9-00FF-1497-33D7-6BAFFE7A1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8479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CEBDDC6-21E8-07E3-5F83-CCE0FC6C6FE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C03CEC-3C11-D151-C389-E5C2087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0725AC2-C666-6A35-B249-2BA790DEA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1917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Ska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sitting on a skateboard with her arms outstretched&#10;&#10;Description automatically generated">
            <a:extLst>
              <a:ext uri="{FF2B5EF4-FFF2-40B4-BE49-F238E27FC236}">
                <a16:creationId xmlns:a16="http://schemas.microsoft.com/office/drawing/2014/main" id="{D39316BD-BF8E-85A5-A660-2012622487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207678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2983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close-up of a graph&#10;&#10;Description automatically generated">
            <a:extLst>
              <a:ext uri="{FF2B5EF4-FFF2-40B4-BE49-F238E27FC236}">
                <a16:creationId xmlns:a16="http://schemas.microsoft.com/office/drawing/2014/main" id="{B2C8C370-F749-841F-1670-8CF0F3341B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8" cy="6857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5940"/>
            <a:ext cx="12207678" cy="686393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811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group of people laughing while looking at a phone&#10;&#10;Description automatically generated">
            <a:extLst>
              <a:ext uri="{FF2B5EF4-FFF2-40B4-BE49-F238E27FC236}">
                <a16:creationId xmlns:a16="http://schemas.microsoft.com/office/drawing/2014/main" id="{5C084F28-5243-2540-6012-D6687E66AD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1520"/>
            <a:ext cx="12192000" cy="68695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200682" cy="68695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812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Key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close-up of a keyboard&#10;&#10;Description automatically generated">
            <a:extLst>
              <a:ext uri="{FF2B5EF4-FFF2-40B4-BE49-F238E27FC236}">
                <a16:creationId xmlns:a16="http://schemas.microsoft.com/office/drawing/2014/main" id="{B16AC698-A3D4-7B74-453B-78192D0B61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7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1" y="0"/>
            <a:ext cx="12207677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8632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5316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B7E58F1E-BE42-005F-61DA-303AF0C938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9567541-6B89-459A-8389-EA678A028EED}"/>
              </a:ext>
            </a:extLst>
          </p:cNvPr>
          <p:cNvSpPr/>
          <p:nvPr userDrawn="1"/>
        </p:nvSpPr>
        <p:spPr>
          <a:xfrm>
            <a:off x="106326" y="6609810"/>
            <a:ext cx="1493186" cy="163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8EA749-2134-FC2B-483D-5BE450CD3A22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C53A91-1C2E-7549-551D-F64DA266ECFB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91F77CA-8475-8A83-5294-69CCAF54FD54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EC1E353-1A4A-567E-772B-1C8F3775DB4F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FD84219-E493-B6AB-9472-604A6059B963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137C3FA-4087-AD74-949D-725DD73C51FD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F4872E-9A1A-0972-CF8B-3C85AD9E64C0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E4DEB20A-F436-3145-CDBC-7DAD4055765D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FC9E597-0002-1174-B578-B963D49FD974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28D924D-92B0-ED7F-50C5-E896DD6A81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23DE9BE-169D-B8FD-00E2-97B3065632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0F0FB253-7CB9-CC74-6108-34DD2E0380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720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E11396B2-978D-E846-6727-E0680EDA7C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3793"/>
            <a:ext cx="12201228" cy="68579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"/>
          <a:stretch/>
        </p:blipFill>
        <p:spPr>
          <a:xfrm>
            <a:off x="0" y="-3792"/>
            <a:ext cx="12215242" cy="686558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2D5759CB-E0F3-21AE-5869-DD3E0AC300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6AA415C-1070-2553-E822-9B87D33512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91108AA1-0A1F-B944-AA04-34C1C2806A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334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Jo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2B3D5CD-537F-93EF-2D7A-F5FE184E26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8683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9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Self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ouple of people taking a selfie&#10;&#10;Description automatically generated">
            <a:extLst>
              <a:ext uri="{FF2B5EF4-FFF2-40B4-BE49-F238E27FC236}">
                <a16:creationId xmlns:a16="http://schemas.microsoft.com/office/drawing/2014/main" id="{5F687EFD-9136-A143-2913-E317FDABBD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732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49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re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reaching out to touch a tree&#10;&#10;Description automatically generated">
            <a:extLst>
              <a:ext uri="{FF2B5EF4-FFF2-40B4-BE49-F238E27FC236}">
                <a16:creationId xmlns:a16="http://schemas.microsoft.com/office/drawing/2014/main" id="{74744EF0-BCC8-B882-9BA2-17FB6F1BA2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153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yp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typing on a computer&#10;&#10;Description automatically generated">
            <a:extLst>
              <a:ext uri="{FF2B5EF4-FFF2-40B4-BE49-F238E27FC236}">
                <a16:creationId xmlns:a16="http://schemas.microsoft.com/office/drawing/2014/main" id="{7F0C4A4A-49DC-834D-AC3F-A56C4F6DF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017" y="0"/>
            <a:ext cx="12200766" cy="68732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1"/>
            <a:ext cx="12200766" cy="68732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019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6F284D-C198-8A4A-6135-E882F78B6B8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3C3B88-18EA-77F2-68A1-373076526B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D3BB1AE-05EB-FFE4-B958-9E536EE9E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385E8B7-6F34-8B37-FBC0-FA5FA2BBE9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</p:spTree>
    <p:extLst>
      <p:ext uri="{BB962C8B-B14F-4D97-AF65-F5344CB8AC3E}">
        <p14:creationId xmlns:p14="http://schemas.microsoft.com/office/powerpoint/2010/main" val="18235091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n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88680EE-E3CF-C6C2-CB48-58D3A2AED3E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2C136E-16D2-0EF9-3E60-896BD8308D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F2FF778-7697-6DD7-DD59-A5CDAA0E19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AFABC617-4291-C37A-B122-59D4A21987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521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C3C18F-C2F7-F6FB-2CA1-32B696DEE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E34D61CE-B03E-894A-D61E-D31C888307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9CB51C3-B144-48BC-390F-EC5617C2D7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B011B905-DED4-9890-3913-569F0D294D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F65AB8-AD4B-F6C6-3699-181B7020A0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105655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8CB4004A-0774-9F68-17C4-398589D6E6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8BEAD9-9CB8-754F-DD5A-9E4036001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Leav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" name="Picture 3" descr="A close-up of a tree&#10;&#10;Description automatically generated">
            <a:extLst>
              <a:ext uri="{FF2B5EF4-FFF2-40B4-BE49-F238E27FC236}">
                <a16:creationId xmlns:a16="http://schemas.microsoft.com/office/drawing/2014/main" id="{EDD2A056-5B1B-049B-DA50-3D7FB69ED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5B804615-3677-3B68-B831-34621A05F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8F97505-45A9-0A8C-5236-18B49815FD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3514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holding a stack of papers&#10;&#10;Description automatically generated">
            <a:extLst>
              <a:ext uri="{FF2B5EF4-FFF2-40B4-BE49-F238E27FC236}">
                <a16:creationId xmlns:a16="http://schemas.microsoft.com/office/drawing/2014/main" id="{55FCA34E-D4EB-0ACE-A525-765EC644E5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6000" cy="68579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2616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2E8753F-B9AA-B56B-5C17-46F5CEBE9D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039CC3-B85A-CD5D-2940-0D9115B177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85648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row of colorful houses&#10;&#10;Description automatically generated">
            <a:extLst>
              <a:ext uri="{FF2B5EF4-FFF2-40B4-BE49-F238E27FC236}">
                <a16:creationId xmlns:a16="http://schemas.microsoft.com/office/drawing/2014/main" id="{8EC0BCA7-E2C9-A700-89E2-A057F988D9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374"/>
            <a:ext cx="12192000" cy="68577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3"/>
          <a:stretch/>
        </p:blipFill>
        <p:spPr>
          <a:xfrm>
            <a:off x="0" y="0"/>
            <a:ext cx="1221177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FD3053F-5558-BD67-AA8E-D2AF137FD6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2E6DDC2-744E-08E6-97D5-2B83035F8E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B97EBEBA-92EF-4B0E-BEFA-41E77572C7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10635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F10CF9-87BA-BE1D-2919-600FB43B6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984" y="1"/>
            <a:ext cx="6096003" cy="68593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9590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arg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E09E114B-6E22-6D01-0E76-FBAAB2B725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3020" cy="685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973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4"/>
            <a:ext cx="3178125" cy="39953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9785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49785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4"/>
            <a:ext cx="3178125" cy="39953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4"/>
            <a:ext cx="3178125" cy="39953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35">
            <a:extLst>
              <a:ext uri="{FF2B5EF4-FFF2-40B4-BE49-F238E27FC236}">
                <a16:creationId xmlns:a16="http://schemas.microsoft.com/office/drawing/2014/main" id="{F763D85A-53EF-21E0-AE8D-8387C9A867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1169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B4BE02F9-0984-31D3-FB53-BAE64616F9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85477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40">
            <a:extLst>
              <a:ext uri="{FF2B5EF4-FFF2-40B4-BE49-F238E27FC236}">
                <a16:creationId xmlns:a16="http://schemas.microsoft.com/office/drawing/2014/main" id="{7205860A-8A37-A13F-D556-FEF702702A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5477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08E500C8-CDAC-8D97-2991-BE727CA62AF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21169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7A7D0FF3-0A47-41C5-12E1-5A525BD272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4E14BF-8B23-28F5-583B-ECDEF02940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2CCA124-1025-BAA2-C889-03963E028A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7636FC22-BE0F-8D27-97BB-85FC1C76CB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266B453-DF27-16A7-09CE-C1004E22EC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 Placeholder 35">
            <a:extLst>
              <a:ext uri="{FF2B5EF4-FFF2-40B4-BE49-F238E27FC236}">
                <a16:creationId xmlns:a16="http://schemas.microsoft.com/office/drawing/2014/main" id="{E3A1F728-6770-25C5-FFE3-6210F8503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63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40">
            <a:extLst>
              <a:ext uri="{FF2B5EF4-FFF2-40B4-BE49-F238E27FC236}">
                <a16:creationId xmlns:a16="http://schemas.microsoft.com/office/drawing/2014/main" id="{17A79DCA-9E7C-15E0-0180-D999B7F86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63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703FF1C4-9C5B-35BA-15F7-F494998BFE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087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189ED043-4BA4-C358-3565-37D485B1DA1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87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4E3D54FB-EB18-FB2D-F9F6-5D64A2A4F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11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40">
            <a:extLst>
              <a:ext uri="{FF2B5EF4-FFF2-40B4-BE49-F238E27FC236}">
                <a16:creationId xmlns:a16="http://schemas.microsoft.com/office/drawing/2014/main" id="{6836EF55-6585-788F-B51D-48201A4CDFD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911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2968FC7C-6951-F5D0-B657-188AACFBB2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8024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01D857A3-4772-5303-7576-9C5BB1E17CB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18024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E7CF7048-8534-8655-8968-7260CFD020A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99368AE-7CC1-7071-A02A-9D2A09DA42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F565088-9722-7082-D34D-6CCC961865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3" name="Picture 12" descr="Marketreach Logo">
            <a:extLst>
              <a:ext uri="{FF2B5EF4-FFF2-40B4-BE49-F238E27FC236}">
                <a16:creationId xmlns:a16="http://schemas.microsoft.com/office/drawing/2014/main" id="{61FCDB74-1F0F-E14C-1182-7EC092E12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592A58E-3435-1CD1-C0DF-3188DB1370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25AE843-60FB-62F0-9970-1DD05B32C229}"/>
              </a:ext>
            </a:extLst>
          </p:cNvPr>
          <p:cNvSpPr/>
          <p:nvPr userDrawn="1"/>
        </p:nvSpPr>
        <p:spPr>
          <a:xfrm>
            <a:off x="7384123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FCBF6E-B065-D460-5D1A-A063B633337B}"/>
              </a:ext>
            </a:extLst>
          </p:cNvPr>
          <p:cNvSpPr/>
          <p:nvPr userDrawn="1"/>
        </p:nvSpPr>
        <p:spPr>
          <a:xfrm>
            <a:off x="5082502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AF5689-365A-DB95-7C49-CB936A2FB276}"/>
              </a:ext>
            </a:extLst>
          </p:cNvPr>
          <p:cNvSpPr/>
          <p:nvPr userDrawn="1"/>
        </p:nvSpPr>
        <p:spPr>
          <a:xfrm>
            <a:off x="2780881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E4C20D9F-9E8A-CE52-DAA1-C21A86946B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3687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10C923C8-4C98-99B6-2BD5-1AA1D9213C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3275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DB4929AC-1069-9091-0A28-CEA3495032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7319F27D-77A3-E732-0F54-9F323C9942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75308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2D70C74C-30AC-ACA6-FF27-115C3B74C6B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4896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9A3B4B7F-D035-24D0-CC35-7A92E69CCC0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76929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1" name="Text Placeholder 40">
            <a:extLst>
              <a:ext uri="{FF2B5EF4-FFF2-40B4-BE49-F238E27FC236}">
                <a16:creationId xmlns:a16="http://schemas.microsoft.com/office/drawing/2014/main" id="{170D1F95-8CB0-AF85-DBCB-572162A2FF5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76517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3" name="Text Placeholder 35">
            <a:extLst>
              <a:ext uri="{FF2B5EF4-FFF2-40B4-BE49-F238E27FC236}">
                <a16:creationId xmlns:a16="http://schemas.microsoft.com/office/drawing/2014/main" id="{3D550665-44CF-0CD7-8B93-8E205489E5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78550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4" name="Text Placeholder 40">
            <a:extLst>
              <a:ext uri="{FF2B5EF4-FFF2-40B4-BE49-F238E27FC236}">
                <a16:creationId xmlns:a16="http://schemas.microsoft.com/office/drawing/2014/main" id="{5B024C84-674A-9337-18A2-A2CCB47285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138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495561E-FBD4-B309-8EAA-E1AFFAB8BF13}"/>
              </a:ext>
            </a:extLst>
          </p:cNvPr>
          <p:cNvSpPr/>
          <p:nvPr userDrawn="1"/>
        </p:nvSpPr>
        <p:spPr>
          <a:xfrm>
            <a:off x="9685744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CD0E33C-E08A-51C3-6217-FDD13D9211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80171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8" name="Text Placeholder 40">
            <a:extLst>
              <a:ext uri="{FF2B5EF4-FFF2-40B4-BE49-F238E27FC236}">
                <a16:creationId xmlns:a16="http://schemas.microsoft.com/office/drawing/2014/main" id="{AAE66CD9-AEA5-0BBB-ADA5-D572D4CFE43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779759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5AA43C-B712-5DE7-9F4D-A102BC4F7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B6229A1-DBE2-8415-655E-D443242C84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7" name="Picture 6" descr="Marketreach Logo">
            <a:extLst>
              <a:ext uri="{FF2B5EF4-FFF2-40B4-BE49-F238E27FC236}">
                <a16:creationId xmlns:a16="http://schemas.microsoft.com/office/drawing/2014/main" id="{60BBA52C-81E9-F167-6EA3-74D1FE6468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6546586-C17A-39B1-7B24-A86C402031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451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9537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219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32366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5BE3D4E0-F635-C149-A17F-2304E79E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704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12E7AB89-E050-AB45-70A4-7350079DEB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42405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BDE9D3C7-DA6C-CB2B-A31E-1162875CF38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326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35">
            <a:extLst>
              <a:ext uri="{FF2B5EF4-FFF2-40B4-BE49-F238E27FC236}">
                <a16:creationId xmlns:a16="http://schemas.microsoft.com/office/drawing/2014/main" id="{4DD1A8DD-C95D-C873-10E6-8BACB1DE24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008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9D287025-6C27-2A5A-886B-67F944FE6C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60257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35">
            <a:extLst>
              <a:ext uri="{FF2B5EF4-FFF2-40B4-BE49-F238E27FC236}">
                <a16:creationId xmlns:a16="http://schemas.microsoft.com/office/drawing/2014/main" id="{EFF10739-506D-A6CF-7243-3072D4494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1194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FEAD0CE5-4212-D3C7-4EEA-8076F3576F6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9704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79896CF6-C3E9-4965-A941-FA50028A42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242405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A034F26E-AE99-3D13-FCC7-95C1C08333F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2326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3" name="Text Placeholder 40">
            <a:extLst>
              <a:ext uri="{FF2B5EF4-FFF2-40B4-BE49-F238E27FC236}">
                <a16:creationId xmlns:a16="http://schemas.microsoft.com/office/drawing/2014/main" id="{92FE2AE8-747D-A937-B37D-9F2A24A2003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1194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4" name="Text Placeholder 40">
            <a:extLst>
              <a:ext uri="{FF2B5EF4-FFF2-40B4-BE49-F238E27FC236}">
                <a16:creationId xmlns:a16="http://schemas.microsoft.com/office/drawing/2014/main" id="{51D497F9-F447-E929-216D-16AE3C7055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7008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6F1E1C5D-AC2B-BD6F-3F65-9F2C5CA37BE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60257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F5DA396A-9BDF-D439-1B7B-16BF8C13F3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E8A76E-948C-6C1E-2189-551666265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9AC8F34-9119-3E31-091A-6D155A8DE8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7" name="Picture 16" descr="Marketreach Logo">
            <a:extLst>
              <a:ext uri="{FF2B5EF4-FFF2-40B4-BE49-F238E27FC236}">
                <a16:creationId xmlns:a16="http://schemas.microsoft.com/office/drawing/2014/main" id="{B353D1E5-8306-54FD-D5C5-B8FD004359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5A623B2-7182-664F-1BC6-23498A4516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53BFF7-466C-9386-C699-CC461BB8DA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64629B-C2EB-6F28-33C7-67A1C9A53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5253A54-D5B4-0C48-72BA-FA4D70929B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6" name="Picture 5" descr="Marketreach Logo">
            <a:extLst>
              <a:ext uri="{FF2B5EF4-FFF2-40B4-BE49-F238E27FC236}">
                <a16:creationId xmlns:a16="http://schemas.microsoft.com/office/drawing/2014/main" id="{862F90D6-F28B-BE2B-0B3F-EBD3CAB491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585C5F5-F936-A1F4-2FF5-4CF3BBB7C5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B059D6-441D-2DF1-1CD3-1E98463FC9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B5006B-188C-E170-3CF7-64B5609B44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2ECFECB7-01E5-F3A6-E473-6A4FF18BE7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78FD8D7C-A9C9-E743-3BD3-11BE8BD05A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831567-6A8B-343E-C4E4-A6958308FA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FE4D3D-A80C-0258-0753-C6B6576235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715714-1369-0F44-AFAB-E36A12B4EF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E586F96-B037-E747-9D35-E14B2BA6BC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0BB0918F-C70C-88F9-2D8A-304F442F27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73918C7-3020-EFB5-D1A7-AFAAA992A2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FB72DF0-8C1C-6D12-97CE-D1C44B62B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9"/>
          <a:stretch/>
        </p:blipFill>
        <p:spPr>
          <a:xfrm>
            <a:off x="0" y="1"/>
            <a:ext cx="12204905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FBEC9BF-CAAE-523C-D5A1-74747D99D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D45DC04-C55B-F160-9DD9-83196D6C1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43185B68-EE35-EA87-659D-2F4B3AC69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428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D051FE-B4A8-FE2E-4445-D20EBE6A1B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4F8266-C10C-12A4-F700-B908003D51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086DD35-104F-D150-9FCC-4CCA92764C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3C3B98D2-3CEA-20DA-6BD6-6CE76BE28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B379E67-0DBB-409F-F029-067B73879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sitting at a table&#10;&#10;Description automatically generated">
            <a:extLst>
              <a:ext uri="{FF2B5EF4-FFF2-40B4-BE49-F238E27FC236}">
                <a16:creationId xmlns:a16="http://schemas.microsoft.com/office/drawing/2014/main" id="{52133B59-F0C9-630F-F6F2-032A4E96C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570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7B5A3DFB-7BC2-427B-DC10-B418279416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0232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31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858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4C7CA651-0BFF-1A25-3470-A7C4EF975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1"/>
            <a:ext cx="12201228" cy="68579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4828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row of colorful houses&#10;&#10;Description automatically generated">
            <a:extLst>
              <a:ext uri="{FF2B5EF4-FFF2-40B4-BE49-F238E27FC236}">
                <a16:creationId xmlns:a16="http://schemas.microsoft.com/office/drawing/2014/main" id="{ECAB741E-1AA0-248F-7BDE-2EEAEE0A35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7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723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320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C6732C3-A85A-F055-253F-1689333EA0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0579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ru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DB419527-F9A8-FE7B-1DC6-06DE61744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4432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C1CF239E-047D-0A5B-2F78-C444F6BC07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234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8784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1BA498EF-EBA8-1E15-FE29-BFDEB44F9D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9112533" cy="2719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D3934-1028-727A-7755-61AA75BDCCD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674A66A5-D4C7-23C6-249F-ADEB011604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211593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85896FC-F708-B183-B0BE-143B65573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2C12ED2E-728A-3074-EA4F-1FAF01D7C9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803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6920D2D2-FAB5-C0B8-F289-837744713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1"/>
            <a:ext cx="12193142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2DD7CE5-128B-B518-260A-50696ADDE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FBE2290-B74C-734A-8F78-BF2465726DB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8515B60C-6B11-30CB-CD25-B8F654B8DB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167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E5657EB-1E1E-B9F8-DBD8-573BA0DC0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1674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8476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EA5B83EF-A0A6-0C35-7B7D-C835B5FE2C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73B47A39-15AA-D99A-E34C-6912C929EF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9108000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8" name="Text Placeholder 37">
            <a:extLst>
              <a:ext uri="{FF2B5EF4-FFF2-40B4-BE49-F238E27FC236}">
                <a16:creationId xmlns:a16="http://schemas.microsoft.com/office/drawing/2014/main" id="{B8CEF0BD-B261-0D68-C825-949D99821F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996" y="4286471"/>
            <a:ext cx="9108000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C56868-4061-1519-6397-F3385E1626B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031D8BB-28A5-A497-85EC-760AC34C4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2" y="2315120"/>
            <a:ext cx="91800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632532-35CB-6571-9B56-4EC598B036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761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774" r:id="rId2"/>
    <p:sldLayoutId id="2147483834" r:id="rId3"/>
    <p:sldLayoutId id="2147483835" r:id="rId4"/>
    <p:sldLayoutId id="2147483836" r:id="rId5"/>
    <p:sldLayoutId id="2147483837" r:id="rId6"/>
    <p:sldLayoutId id="2147483839" r:id="rId7"/>
    <p:sldLayoutId id="2147483858" r:id="rId8"/>
    <p:sldLayoutId id="2147483771" r:id="rId9"/>
    <p:sldLayoutId id="2147483824" r:id="rId10"/>
    <p:sldLayoutId id="2147483840" r:id="rId11"/>
    <p:sldLayoutId id="2147483809" r:id="rId12"/>
    <p:sldLayoutId id="2147483742" r:id="rId13"/>
    <p:sldLayoutId id="2147483798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65" r:id="rId20"/>
    <p:sldLayoutId id="2147483866" r:id="rId21"/>
    <p:sldLayoutId id="2147483821" r:id="rId22"/>
    <p:sldLayoutId id="2147483770" r:id="rId23"/>
    <p:sldLayoutId id="2147483860" r:id="rId24"/>
    <p:sldLayoutId id="2147483861" r:id="rId25"/>
    <p:sldLayoutId id="2147483862" r:id="rId26"/>
    <p:sldLayoutId id="2147483823" r:id="rId27"/>
    <p:sldLayoutId id="2147483863" r:id="rId28"/>
    <p:sldLayoutId id="2147483820" r:id="rId29"/>
    <p:sldLayoutId id="2147483842" r:id="rId30"/>
    <p:sldLayoutId id="2147483867" r:id="rId31"/>
    <p:sldLayoutId id="2147483843" r:id="rId32"/>
    <p:sldLayoutId id="2147483844" r:id="rId33"/>
    <p:sldLayoutId id="2147483817" r:id="rId34"/>
    <p:sldLayoutId id="2147483769" r:id="rId35"/>
    <p:sldLayoutId id="2147483724" r:id="rId36"/>
    <p:sldLayoutId id="2147483725" r:id="rId37"/>
    <p:sldLayoutId id="2147483825" r:id="rId38"/>
    <p:sldLayoutId id="2147483850" r:id="rId39"/>
    <p:sldLayoutId id="2147483726" r:id="rId40"/>
    <p:sldLayoutId id="2147483826" r:id="rId41"/>
    <p:sldLayoutId id="2147483851" r:id="rId42"/>
    <p:sldLayoutId id="2147483744" r:id="rId43"/>
    <p:sldLayoutId id="2147483745" r:id="rId44"/>
    <p:sldLayoutId id="2147483746" r:id="rId45"/>
    <p:sldLayoutId id="2147483768" r:id="rId46"/>
    <p:sldLayoutId id="2147483711" r:id="rId47"/>
    <p:sldLayoutId id="2147483712" r:id="rId48"/>
    <p:sldLayoutId id="2147483713" r:id="rId49"/>
    <p:sldLayoutId id="2147483714" r:id="rId50"/>
    <p:sldLayoutId id="2147483785" r:id="rId51"/>
    <p:sldLayoutId id="2147483852" r:id="rId52"/>
    <p:sldLayoutId id="2147483853" r:id="rId53"/>
    <p:sldLayoutId id="2147483854" r:id="rId54"/>
    <p:sldLayoutId id="2147483855" r:id="rId55"/>
    <p:sldLayoutId id="2147483856" r:id="rId56"/>
    <p:sldLayoutId id="2147483857" r:id="rId57"/>
    <p:sldLayoutId id="2147483864" r:id="rId58"/>
    <p:sldLayoutId id="2147483773" r:id="rId5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notesSlide" Target="../notesSlides/notesSlid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hyperlink" Target="http://www.royalmailwholesale.com/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38.sv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3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42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svg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43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42.svg"/><Relationship Id="rId5" Type="http://schemas.openxmlformats.org/officeDocument/2006/relationships/tags" Target="../tags/tag22.xml"/><Relationship Id="rId10" Type="http://schemas.openxmlformats.org/officeDocument/2006/relationships/image" Target="../media/image41.png"/><Relationship Id="rId4" Type="http://schemas.openxmlformats.org/officeDocument/2006/relationships/tags" Target="../tags/tag21.xml"/><Relationship Id="rId9" Type="http://schemas.openxmlformats.org/officeDocument/2006/relationships/image" Target="../media/image40.svg"/><Relationship Id="rId14" Type="http://schemas.openxmlformats.org/officeDocument/2006/relationships/hyperlink" Target="https://www.royalmailwholesale.com/testing-and-innovation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C1D005-C419-9846-4376-2FAF467B6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YAL MAIL AUTUMN &amp; WINTER CATALOGUE INCENTIV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2B0D66-E547-28A6-4CDE-53D45E5D75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troducing an incentive to trial Autumn &amp; Winter catalog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22D16E-62DD-D922-5131-62E8842B0C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May 2025</a:t>
            </a:r>
          </a:p>
        </p:txBody>
      </p:sp>
    </p:spTree>
    <p:extLst>
      <p:ext uri="{BB962C8B-B14F-4D97-AF65-F5344CB8AC3E}">
        <p14:creationId xmlns:p14="http://schemas.microsoft.com/office/powerpoint/2010/main" val="20345529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26E622B8-6829-3174-C598-D039DF8A6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equently asked question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BB3B99E-118A-8E88-6223-62515E3008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2FC1F5-43A1-C00D-3B29-F44EB346C0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0</a:t>
            </a:fld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CB50A88-E04A-7627-26E1-A38E7A781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E7E967C-46F6-D2AC-97EC-74F4DC528228}"/>
              </a:ext>
            </a:extLst>
          </p:cNvPr>
          <p:cNvSpPr/>
          <p:nvPr/>
        </p:nvSpPr>
        <p:spPr>
          <a:xfrm>
            <a:off x="1050534" y="2499688"/>
            <a:ext cx="3805200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use postcard formats?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4CDF65E-0872-C40A-5A41-CCF1ED810017}"/>
              </a:ext>
            </a:extLst>
          </p:cNvPr>
          <p:cNvSpPr/>
          <p:nvPr/>
        </p:nvSpPr>
        <p:spPr>
          <a:xfrm>
            <a:off x="4855735" y="2499688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Traditional postcards are not eligible, please see the Machinable Postcard and One-Piece Mailer Guide for options to use with incentives at www.royalmailwholesale.com/incentiv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408AC29-7B9B-0B87-6CA9-3AF952C432F1}"/>
              </a:ext>
            </a:extLst>
          </p:cNvPr>
          <p:cNvSpPr/>
          <p:nvPr/>
        </p:nvSpPr>
        <p:spPr>
          <a:xfrm>
            <a:off x="1050534" y="3286730"/>
            <a:ext cx="3805200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will happen if I do not meet the minimum volume entry requirement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4A244CE-7A8D-EF53-081E-DB51A0AF1942}"/>
              </a:ext>
            </a:extLst>
          </p:cNvPr>
          <p:cNvSpPr/>
          <p:nvPr/>
        </p:nvSpPr>
        <p:spPr>
          <a:xfrm>
            <a:off x="4855735" y="3286730"/>
            <a:ext cx="6527748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ou will not qualify for any postage credit. 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C152723-5813-AB34-FD19-B3B369932435}"/>
              </a:ext>
            </a:extLst>
          </p:cNvPr>
          <p:cNvSpPr/>
          <p:nvPr/>
        </p:nvSpPr>
        <p:spPr>
          <a:xfrm>
            <a:off x="1050534" y="4084282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ow long will my postage credit vouchers be valid for?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7C3EC50-50BB-DFB8-7788-FF2DF6EDD741}"/>
              </a:ext>
            </a:extLst>
          </p:cNvPr>
          <p:cNvSpPr/>
          <p:nvPr/>
        </p:nvSpPr>
        <p:spPr>
          <a:xfrm>
            <a:off x="4855735" y="4084282"/>
            <a:ext cx="6527748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Postage credit vouchers are valid for 12 months from date of issue. </a:t>
            </a:r>
          </a:p>
        </p:txBody>
      </p:sp>
      <p:grpSp>
        <p:nvGrpSpPr>
          <p:cNvPr id="24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971034A-9293-3AC5-F251-97205FA7C91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99636" y="2655207"/>
            <a:ext cx="541434" cy="542925"/>
            <a:chOff x="44" y="44"/>
            <a:chExt cx="363" cy="364"/>
          </a:xfrm>
          <a:solidFill>
            <a:schemeClr val="accent1"/>
          </a:solidFill>
        </p:grpSpPr>
        <p:sp>
          <p:nvSpPr>
            <p:cNvPr id="25" name="Help">
              <a:extLst>
                <a:ext uri="{FF2B5EF4-FFF2-40B4-BE49-F238E27FC236}">
                  <a16:creationId xmlns:a16="http://schemas.microsoft.com/office/drawing/2014/main" id="{31143841-5C00-E870-1D89-CFAEE610FEFB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Help">
              <a:extLst>
                <a:ext uri="{FF2B5EF4-FFF2-40B4-BE49-F238E27FC236}">
                  <a16:creationId xmlns:a16="http://schemas.microsoft.com/office/drawing/2014/main" id="{689E05CC-AB16-777F-2083-3D37EE72BCBB}"/>
                </a:ext>
              </a:extLst>
            </p:cNvPr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Help">
              <a:extLst>
                <a:ext uri="{FF2B5EF4-FFF2-40B4-BE49-F238E27FC236}">
                  <a16:creationId xmlns:a16="http://schemas.microsoft.com/office/drawing/2014/main" id="{61821D1A-F83C-DDB6-D547-2D721DB8EBFB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0043B40-B2ED-7E5B-22BE-C150FEB19C5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99636" y="3438226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29" name="Help">
              <a:extLst>
                <a:ext uri="{FF2B5EF4-FFF2-40B4-BE49-F238E27FC236}">
                  <a16:creationId xmlns:a16="http://schemas.microsoft.com/office/drawing/2014/main" id="{70E3E9F8-00C2-F4BE-93F1-5F4BDBCF5D92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Help">
              <a:extLst>
                <a:ext uri="{FF2B5EF4-FFF2-40B4-BE49-F238E27FC236}">
                  <a16:creationId xmlns:a16="http://schemas.microsoft.com/office/drawing/2014/main" id="{E8114257-C533-05F1-E6E3-F6497C6E4C97}"/>
                </a:ext>
              </a:extLst>
            </p:cNvPr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Help">
              <a:extLst>
                <a:ext uri="{FF2B5EF4-FFF2-40B4-BE49-F238E27FC236}">
                  <a16:creationId xmlns:a16="http://schemas.microsoft.com/office/drawing/2014/main" id="{4FCD5282-34B5-B97D-8933-552BDB43A06B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2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1E67287-0CE3-4A34-30D9-77F7F1F4FC6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399636" y="4221246"/>
            <a:ext cx="541434" cy="542925"/>
            <a:chOff x="44" y="44"/>
            <a:chExt cx="363" cy="364"/>
          </a:xfrm>
          <a:solidFill>
            <a:schemeClr val="tx1"/>
          </a:solidFill>
        </p:grpSpPr>
        <p:sp>
          <p:nvSpPr>
            <p:cNvPr id="33" name="Help">
              <a:extLst>
                <a:ext uri="{FF2B5EF4-FFF2-40B4-BE49-F238E27FC236}">
                  <a16:creationId xmlns:a16="http://schemas.microsoft.com/office/drawing/2014/main" id="{3118CAFD-7202-5408-5413-4B22D15897F7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Help">
              <a:extLst>
                <a:ext uri="{FF2B5EF4-FFF2-40B4-BE49-F238E27FC236}">
                  <a16:creationId xmlns:a16="http://schemas.microsoft.com/office/drawing/2014/main" id="{F14AC029-92B0-8DB3-B5AD-D9CFBB288D8A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Help">
              <a:extLst>
                <a:ext uri="{FF2B5EF4-FFF2-40B4-BE49-F238E27FC236}">
                  <a16:creationId xmlns:a16="http://schemas.microsoft.com/office/drawing/2014/main" id="{5DD683EB-E957-59A6-5DF7-A9F13411FB13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1757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3FC2AE-4C71-2458-4884-54DD66F1A6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D77919-D05D-3144-D494-5D6CA0A0E54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4392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CE4241-7114-C396-7A35-A6C41FA01E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centive Content guid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811B2B-EB7A-AD76-8616-9AB0D163BC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088D5E-F56F-8B97-C73B-6B8D60B2E81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4BC71C1-2743-8A35-E58F-8612E2F3F06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5221" y="1786375"/>
            <a:ext cx="5640780" cy="4476750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The primary purpose of the mailing campaign must be related to an Autumn and or Winter catalogue, for example: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Autumn and or Winter Catalogue  </a:t>
            </a:r>
          </a:p>
          <a:p>
            <a:r>
              <a:rPr lang="en-GB" dirty="0"/>
              <a:t>Teaser and Reminder mailings linked to your Catalogue </a:t>
            </a:r>
          </a:p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4687494-9845-CDC4-5440-1078CDB9F71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grpSp>
        <p:nvGrpSpPr>
          <p:cNvPr id="7" name="Snowboard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59F37AE-2B8B-4F06-19FA-F74C9019AD7D}"/>
              </a:ext>
            </a:extLst>
          </p:cNvPr>
          <p:cNvGrpSpPr>
            <a:grpSpLocks noChangeAspect="1"/>
          </p:cNvGrpSpPr>
          <p:nvPr/>
        </p:nvGrpSpPr>
        <p:grpSpPr>
          <a:xfrm>
            <a:off x="7579141" y="2041682"/>
            <a:ext cx="3180907" cy="3394545"/>
            <a:chOff x="8259763" y="2403476"/>
            <a:chExt cx="425451" cy="454025"/>
          </a:xfrm>
          <a:solidFill>
            <a:schemeClr val="accent1"/>
          </a:solidFill>
        </p:grpSpPr>
        <p:sp>
          <p:nvSpPr>
            <p:cNvPr id="8" name="Freeform 1910">
              <a:extLst>
                <a:ext uri="{FF2B5EF4-FFF2-40B4-BE49-F238E27FC236}">
                  <a16:creationId xmlns:a16="http://schemas.microsoft.com/office/drawing/2014/main" id="{A2E46E08-A24C-C937-BAD6-3D61F5DCC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6913" y="2697163"/>
              <a:ext cx="234950" cy="125413"/>
            </a:xfrm>
            <a:custGeom>
              <a:avLst/>
              <a:gdLst>
                <a:gd name="T0" fmla="*/ 1983 w 2627"/>
                <a:gd name="T1" fmla="*/ 1337 h 1395"/>
                <a:gd name="T2" fmla="*/ 1815 w 2627"/>
                <a:gd name="T3" fmla="*/ 1312 h 1395"/>
                <a:gd name="T4" fmla="*/ 1551 w 2627"/>
                <a:gd name="T5" fmla="*/ 1119 h 1395"/>
                <a:gd name="T6" fmla="*/ 1306 w 2627"/>
                <a:gd name="T7" fmla="*/ 948 h 1395"/>
                <a:gd name="T8" fmla="*/ 1022 w 2627"/>
                <a:gd name="T9" fmla="*/ 1122 h 1395"/>
                <a:gd name="T10" fmla="*/ 742 w 2627"/>
                <a:gd name="T11" fmla="*/ 1312 h 1395"/>
                <a:gd name="T12" fmla="*/ 59 w 2627"/>
                <a:gd name="T13" fmla="*/ 1003 h 1395"/>
                <a:gd name="T14" fmla="*/ 57 w 2627"/>
                <a:gd name="T15" fmla="*/ 998 h 1395"/>
                <a:gd name="T16" fmla="*/ 68 w 2627"/>
                <a:gd name="T17" fmla="*/ 573 h 1395"/>
                <a:gd name="T18" fmla="*/ 488 w 2627"/>
                <a:gd name="T19" fmla="*/ 208 h 1395"/>
                <a:gd name="T20" fmla="*/ 1788 w 2627"/>
                <a:gd name="T21" fmla="*/ 116 h 1395"/>
                <a:gd name="T22" fmla="*/ 1839 w 2627"/>
                <a:gd name="T23" fmla="*/ 195 h 1395"/>
                <a:gd name="T24" fmla="*/ 1759 w 2627"/>
                <a:gd name="T25" fmla="*/ 246 h 1395"/>
                <a:gd name="T26" fmla="*/ 527 w 2627"/>
                <a:gd name="T27" fmla="*/ 335 h 1395"/>
                <a:gd name="T28" fmla="*/ 190 w 2627"/>
                <a:gd name="T29" fmla="*/ 628 h 1395"/>
                <a:gd name="T30" fmla="*/ 179 w 2627"/>
                <a:gd name="T31" fmla="*/ 945 h 1395"/>
                <a:gd name="T32" fmla="*/ 180 w 2627"/>
                <a:gd name="T33" fmla="*/ 948 h 1395"/>
                <a:gd name="T34" fmla="*/ 703 w 2627"/>
                <a:gd name="T35" fmla="*/ 1184 h 1395"/>
                <a:gd name="T36" fmla="*/ 934 w 2627"/>
                <a:gd name="T37" fmla="*/ 1022 h 1395"/>
                <a:gd name="T38" fmla="*/ 1304 w 2627"/>
                <a:gd name="T39" fmla="*/ 815 h 1395"/>
                <a:gd name="T40" fmla="*/ 1307 w 2627"/>
                <a:gd name="T41" fmla="*/ 815 h 1395"/>
                <a:gd name="T42" fmla="*/ 1644 w 2627"/>
                <a:gd name="T43" fmla="*/ 1023 h 1395"/>
                <a:gd name="T44" fmla="*/ 1854 w 2627"/>
                <a:gd name="T45" fmla="*/ 1184 h 1395"/>
                <a:gd name="T46" fmla="*/ 2375 w 2627"/>
                <a:gd name="T47" fmla="*/ 949 h 1395"/>
                <a:gd name="T48" fmla="*/ 2376 w 2627"/>
                <a:gd name="T49" fmla="*/ 949 h 1395"/>
                <a:gd name="T50" fmla="*/ 2377 w 2627"/>
                <a:gd name="T51" fmla="*/ 945 h 1395"/>
                <a:gd name="T52" fmla="*/ 2049 w 2627"/>
                <a:gd name="T53" fmla="*/ 333 h 1395"/>
                <a:gd name="T54" fmla="*/ 2017 w 2627"/>
                <a:gd name="T55" fmla="*/ 245 h 1395"/>
                <a:gd name="T56" fmla="*/ 2106 w 2627"/>
                <a:gd name="T57" fmla="*/ 212 h 1395"/>
                <a:gd name="T58" fmla="*/ 2499 w 2627"/>
                <a:gd name="T59" fmla="*/ 999 h 1395"/>
                <a:gd name="T60" fmla="*/ 2499 w 2627"/>
                <a:gd name="T61" fmla="*/ 999 h 1395"/>
                <a:gd name="T62" fmla="*/ 2498 w 2627"/>
                <a:gd name="T63" fmla="*/ 1003 h 1395"/>
                <a:gd name="T64" fmla="*/ 1983 w 2627"/>
                <a:gd name="T65" fmla="*/ 1337 h 1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627" h="1395">
                  <a:moveTo>
                    <a:pt x="1983" y="1337"/>
                  </a:moveTo>
                  <a:cubicBezTo>
                    <a:pt x="1928" y="1337"/>
                    <a:pt x="1871" y="1329"/>
                    <a:pt x="1815" y="1312"/>
                  </a:cubicBezTo>
                  <a:cubicBezTo>
                    <a:pt x="1721" y="1283"/>
                    <a:pt x="1635" y="1199"/>
                    <a:pt x="1551" y="1119"/>
                  </a:cubicBezTo>
                  <a:cubicBezTo>
                    <a:pt x="1466" y="1035"/>
                    <a:pt x="1376" y="949"/>
                    <a:pt x="1306" y="948"/>
                  </a:cubicBezTo>
                  <a:cubicBezTo>
                    <a:pt x="1221" y="947"/>
                    <a:pt x="1120" y="1036"/>
                    <a:pt x="1022" y="1122"/>
                  </a:cubicBezTo>
                  <a:cubicBezTo>
                    <a:pt x="933" y="1200"/>
                    <a:pt x="840" y="1281"/>
                    <a:pt x="742" y="1312"/>
                  </a:cubicBezTo>
                  <a:cubicBezTo>
                    <a:pt x="463" y="1395"/>
                    <a:pt x="176" y="1265"/>
                    <a:pt x="59" y="1003"/>
                  </a:cubicBezTo>
                  <a:lnTo>
                    <a:pt x="57" y="998"/>
                  </a:lnTo>
                  <a:cubicBezTo>
                    <a:pt x="0" y="872"/>
                    <a:pt x="4" y="717"/>
                    <a:pt x="68" y="573"/>
                  </a:cubicBezTo>
                  <a:cubicBezTo>
                    <a:pt x="147" y="399"/>
                    <a:pt x="299" y="266"/>
                    <a:pt x="488" y="208"/>
                  </a:cubicBezTo>
                  <a:cubicBezTo>
                    <a:pt x="842" y="97"/>
                    <a:pt x="1274" y="0"/>
                    <a:pt x="1788" y="116"/>
                  </a:cubicBezTo>
                  <a:cubicBezTo>
                    <a:pt x="1824" y="124"/>
                    <a:pt x="1847" y="159"/>
                    <a:pt x="1839" y="195"/>
                  </a:cubicBezTo>
                  <a:cubicBezTo>
                    <a:pt x="1831" y="231"/>
                    <a:pt x="1795" y="254"/>
                    <a:pt x="1759" y="246"/>
                  </a:cubicBezTo>
                  <a:cubicBezTo>
                    <a:pt x="1374" y="160"/>
                    <a:pt x="1006" y="186"/>
                    <a:pt x="527" y="335"/>
                  </a:cubicBezTo>
                  <a:cubicBezTo>
                    <a:pt x="376" y="382"/>
                    <a:pt x="252" y="489"/>
                    <a:pt x="190" y="628"/>
                  </a:cubicBezTo>
                  <a:cubicBezTo>
                    <a:pt x="141" y="737"/>
                    <a:pt x="137" y="852"/>
                    <a:pt x="179" y="945"/>
                  </a:cubicBezTo>
                  <a:lnTo>
                    <a:pt x="180" y="948"/>
                  </a:lnTo>
                  <a:cubicBezTo>
                    <a:pt x="282" y="1175"/>
                    <a:pt x="521" y="1239"/>
                    <a:pt x="703" y="1184"/>
                  </a:cubicBezTo>
                  <a:cubicBezTo>
                    <a:pt x="773" y="1162"/>
                    <a:pt x="855" y="1091"/>
                    <a:pt x="934" y="1022"/>
                  </a:cubicBezTo>
                  <a:cubicBezTo>
                    <a:pt x="1050" y="920"/>
                    <a:pt x="1170" y="815"/>
                    <a:pt x="1304" y="815"/>
                  </a:cubicBezTo>
                  <a:lnTo>
                    <a:pt x="1307" y="815"/>
                  </a:lnTo>
                  <a:cubicBezTo>
                    <a:pt x="1431" y="817"/>
                    <a:pt x="1540" y="921"/>
                    <a:pt x="1644" y="1023"/>
                  </a:cubicBezTo>
                  <a:cubicBezTo>
                    <a:pt x="1716" y="1093"/>
                    <a:pt x="1791" y="1165"/>
                    <a:pt x="1854" y="1184"/>
                  </a:cubicBezTo>
                  <a:cubicBezTo>
                    <a:pt x="2036" y="1239"/>
                    <a:pt x="2273" y="1176"/>
                    <a:pt x="2375" y="949"/>
                  </a:cubicBezTo>
                  <a:lnTo>
                    <a:pt x="2376" y="949"/>
                  </a:lnTo>
                  <a:lnTo>
                    <a:pt x="2377" y="945"/>
                  </a:lnTo>
                  <a:cubicBezTo>
                    <a:pt x="2473" y="733"/>
                    <a:pt x="2329" y="464"/>
                    <a:pt x="2049" y="333"/>
                  </a:cubicBezTo>
                  <a:cubicBezTo>
                    <a:pt x="2016" y="318"/>
                    <a:pt x="2001" y="278"/>
                    <a:pt x="2017" y="245"/>
                  </a:cubicBezTo>
                  <a:cubicBezTo>
                    <a:pt x="2033" y="211"/>
                    <a:pt x="2072" y="197"/>
                    <a:pt x="2106" y="212"/>
                  </a:cubicBezTo>
                  <a:cubicBezTo>
                    <a:pt x="2458" y="377"/>
                    <a:pt x="2627" y="715"/>
                    <a:pt x="2499" y="999"/>
                  </a:cubicBezTo>
                  <a:lnTo>
                    <a:pt x="2499" y="999"/>
                  </a:lnTo>
                  <a:lnTo>
                    <a:pt x="2498" y="1003"/>
                  </a:lnTo>
                  <a:cubicBezTo>
                    <a:pt x="2404" y="1212"/>
                    <a:pt x="2202" y="1337"/>
                    <a:pt x="1983" y="133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1911">
              <a:extLst>
                <a:ext uri="{FF2B5EF4-FFF2-40B4-BE49-F238E27FC236}">
                  <a16:creationId xmlns:a16="http://schemas.microsoft.com/office/drawing/2014/main" id="{6C66019C-ABA8-B689-1444-740F347AF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2013" y="2711451"/>
              <a:ext cx="14288" cy="12700"/>
            </a:xfrm>
            <a:custGeom>
              <a:avLst/>
              <a:gdLst>
                <a:gd name="T0" fmla="*/ 81 w 155"/>
                <a:gd name="T1" fmla="*/ 134 h 134"/>
                <a:gd name="T2" fmla="*/ 78 w 155"/>
                <a:gd name="T3" fmla="*/ 134 h 134"/>
                <a:gd name="T4" fmla="*/ 56 w 155"/>
                <a:gd name="T5" fmla="*/ 131 h 134"/>
                <a:gd name="T6" fmla="*/ 11 w 155"/>
                <a:gd name="T7" fmla="*/ 48 h 134"/>
                <a:gd name="T8" fmla="*/ 75 w 155"/>
                <a:gd name="T9" fmla="*/ 0 h 134"/>
                <a:gd name="T10" fmla="*/ 100 w 155"/>
                <a:gd name="T11" fmla="*/ 4 h 134"/>
                <a:gd name="T12" fmla="*/ 145 w 155"/>
                <a:gd name="T13" fmla="*/ 87 h 134"/>
                <a:gd name="T14" fmla="*/ 81 w 155"/>
                <a:gd name="T15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5" h="134">
                  <a:moveTo>
                    <a:pt x="81" y="134"/>
                  </a:moveTo>
                  <a:lnTo>
                    <a:pt x="78" y="134"/>
                  </a:lnTo>
                  <a:cubicBezTo>
                    <a:pt x="72" y="134"/>
                    <a:pt x="64" y="133"/>
                    <a:pt x="56" y="131"/>
                  </a:cubicBezTo>
                  <a:cubicBezTo>
                    <a:pt x="21" y="120"/>
                    <a:pt x="0" y="83"/>
                    <a:pt x="11" y="48"/>
                  </a:cubicBezTo>
                  <a:cubicBezTo>
                    <a:pt x="19" y="19"/>
                    <a:pt x="46" y="0"/>
                    <a:pt x="75" y="0"/>
                  </a:cubicBezTo>
                  <a:cubicBezTo>
                    <a:pt x="83" y="0"/>
                    <a:pt x="91" y="1"/>
                    <a:pt x="100" y="4"/>
                  </a:cubicBezTo>
                  <a:cubicBezTo>
                    <a:pt x="135" y="14"/>
                    <a:pt x="155" y="52"/>
                    <a:pt x="145" y="87"/>
                  </a:cubicBezTo>
                  <a:cubicBezTo>
                    <a:pt x="136" y="116"/>
                    <a:pt x="109" y="134"/>
                    <a:pt x="81" y="13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1912">
              <a:extLst>
                <a:ext uri="{FF2B5EF4-FFF2-40B4-BE49-F238E27FC236}">
                  <a16:creationId xmlns:a16="http://schemas.microsoft.com/office/drawing/2014/main" id="{67A7827D-5D68-450A-B381-9A8F0CDDA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4213" y="2786063"/>
              <a:ext cx="255588" cy="53975"/>
            </a:xfrm>
            <a:custGeom>
              <a:avLst/>
              <a:gdLst>
                <a:gd name="T0" fmla="*/ 2181 w 2842"/>
                <a:gd name="T1" fmla="*/ 561 h 591"/>
                <a:gd name="T2" fmla="*/ 2065 w 2842"/>
                <a:gd name="T3" fmla="*/ 547 h 591"/>
                <a:gd name="T4" fmla="*/ 1591 w 2842"/>
                <a:gd name="T5" fmla="*/ 260 h 591"/>
                <a:gd name="T6" fmla="*/ 1434 w 2842"/>
                <a:gd name="T7" fmla="*/ 140 h 591"/>
                <a:gd name="T8" fmla="*/ 1281 w 2842"/>
                <a:gd name="T9" fmla="*/ 243 h 591"/>
                <a:gd name="T10" fmla="*/ 846 w 2842"/>
                <a:gd name="T11" fmla="*/ 525 h 591"/>
                <a:gd name="T12" fmla="*/ 838 w 2842"/>
                <a:gd name="T13" fmla="*/ 527 h 591"/>
                <a:gd name="T14" fmla="*/ 15 w 2842"/>
                <a:gd name="T15" fmla="*/ 129 h 591"/>
                <a:gd name="T16" fmla="*/ 48 w 2842"/>
                <a:gd name="T17" fmla="*/ 41 h 591"/>
                <a:gd name="T18" fmla="*/ 136 w 2842"/>
                <a:gd name="T19" fmla="*/ 74 h 591"/>
                <a:gd name="T20" fmla="*/ 812 w 2842"/>
                <a:gd name="T21" fmla="*/ 396 h 591"/>
                <a:gd name="T22" fmla="*/ 1185 w 2842"/>
                <a:gd name="T23" fmla="*/ 151 h 591"/>
                <a:gd name="T24" fmla="*/ 1443 w 2842"/>
                <a:gd name="T25" fmla="*/ 7 h 591"/>
                <a:gd name="T26" fmla="*/ 1694 w 2842"/>
                <a:gd name="T27" fmla="*/ 176 h 591"/>
                <a:gd name="T28" fmla="*/ 2086 w 2842"/>
                <a:gd name="T29" fmla="*/ 416 h 591"/>
                <a:gd name="T30" fmla="*/ 2095 w 2842"/>
                <a:gd name="T31" fmla="*/ 417 h 591"/>
                <a:gd name="T32" fmla="*/ 2704 w 2842"/>
                <a:gd name="T33" fmla="*/ 56 h 591"/>
                <a:gd name="T34" fmla="*/ 2785 w 2842"/>
                <a:gd name="T35" fmla="*/ 9 h 591"/>
                <a:gd name="T36" fmla="*/ 2832 w 2842"/>
                <a:gd name="T37" fmla="*/ 91 h 591"/>
                <a:gd name="T38" fmla="*/ 2181 w 2842"/>
                <a:gd name="T39" fmla="*/ 561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42" h="591">
                  <a:moveTo>
                    <a:pt x="2181" y="561"/>
                  </a:moveTo>
                  <a:cubicBezTo>
                    <a:pt x="2142" y="561"/>
                    <a:pt x="2102" y="557"/>
                    <a:pt x="2065" y="547"/>
                  </a:cubicBezTo>
                  <a:cubicBezTo>
                    <a:pt x="1797" y="511"/>
                    <a:pt x="1678" y="366"/>
                    <a:pt x="1591" y="260"/>
                  </a:cubicBezTo>
                  <a:cubicBezTo>
                    <a:pt x="1527" y="184"/>
                    <a:pt x="1492" y="143"/>
                    <a:pt x="1434" y="140"/>
                  </a:cubicBezTo>
                  <a:cubicBezTo>
                    <a:pt x="1385" y="137"/>
                    <a:pt x="1350" y="171"/>
                    <a:pt x="1281" y="243"/>
                  </a:cubicBezTo>
                  <a:cubicBezTo>
                    <a:pt x="1195" y="333"/>
                    <a:pt x="1077" y="456"/>
                    <a:pt x="846" y="525"/>
                  </a:cubicBezTo>
                  <a:cubicBezTo>
                    <a:pt x="843" y="525"/>
                    <a:pt x="841" y="526"/>
                    <a:pt x="838" y="527"/>
                  </a:cubicBezTo>
                  <a:cubicBezTo>
                    <a:pt x="443" y="591"/>
                    <a:pt x="166" y="457"/>
                    <a:pt x="15" y="129"/>
                  </a:cubicBezTo>
                  <a:cubicBezTo>
                    <a:pt x="0" y="96"/>
                    <a:pt x="15" y="56"/>
                    <a:pt x="48" y="41"/>
                  </a:cubicBezTo>
                  <a:cubicBezTo>
                    <a:pt x="81" y="26"/>
                    <a:pt x="121" y="40"/>
                    <a:pt x="136" y="74"/>
                  </a:cubicBezTo>
                  <a:cubicBezTo>
                    <a:pt x="262" y="347"/>
                    <a:pt x="477" y="449"/>
                    <a:pt x="812" y="396"/>
                  </a:cubicBezTo>
                  <a:cubicBezTo>
                    <a:pt x="1006" y="337"/>
                    <a:pt x="1105" y="234"/>
                    <a:pt x="1185" y="151"/>
                  </a:cubicBezTo>
                  <a:cubicBezTo>
                    <a:pt x="1259" y="73"/>
                    <a:pt x="1329" y="0"/>
                    <a:pt x="1443" y="7"/>
                  </a:cubicBezTo>
                  <a:cubicBezTo>
                    <a:pt x="1560" y="14"/>
                    <a:pt x="1628" y="96"/>
                    <a:pt x="1694" y="176"/>
                  </a:cubicBezTo>
                  <a:cubicBezTo>
                    <a:pt x="1775" y="275"/>
                    <a:pt x="1868" y="387"/>
                    <a:pt x="2086" y="416"/>
                  </a:cubicBezTo>
                  <a:cubicBezTo>
                    <a:pt x="2089" y="416"/>
                    <a:pt x="2092" y="417"/>
                    <a:pt x="2095" y="417"/>
                  </a:cubicBezTo>
                  <a:cubicBezTo>
                    <a:pt x="2319" y="476"/>
                    <a:pt x="2643" y="284"/>
                    <a:pt x="2704" y="56"/>
                  </a:cubicBezTo>
                  <a:cubicBezTo>
                    <a:pt x="2713" y="21"/>
                    <a:pt x="2749" y="0"/>
                    <a:pt x="2785" y="9"/>
                  </a:cubicBezTo>
                  <a:cubicBezTo>
                    <a:pt x="2821" y="19"/>
                    <a:pt x="2842" y="55"/>
                    <a:pt x="2832" y="91"/>
                  </a:cubicBezTo>
                  <a:cubicBezTo>
                    <a:pt x="2763" y="350"/>
                    <a:pt x="2455" y="561"/>
                    <a:pt x="2181" y="5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1913">
              <a:extLst>
                <a:ext uri="{FF2B5EF4-FFF2-40B4-BE49-F238E27FC236}">
                  <a16:creationId xmlns:a16="http://schemas.microsoft.com/office/drawing/2014/main" id="{50A029D1-5D62-6D13-B448-CD785D2CCF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4213" y="2676526"/>
              <a:ext cx="254000" cy="74613"/>
            </a:xfrm>
            <a:custGeom>
              <a:avLst/>
              <a:gdLst>
                <a:gd name="T0" fmla="*/ 2762 w 2835"/>
                <a:gd name="T1" fmla="*/ 820 h 820"/>
                <a:gd name="T2" fmla="*/ 2697 w 2835"/>
                <a:gd name="T3" fmla="*/ 766 h 820"/>
                <a:gd name="T4" fmla="*/ 2315 w 2835"/>
                <a:gd name="T5" fmla="*/ 385 h 820"/>
                <a:gd name="T6" fmla="*/ 571 w 2835"/>
                <a:gd name="T7" fmla="*/ 363 h 820"/>
                <a:gd name="T8" fmla="*/ 279 w 2835"/>
                <a:gd name="T9" fmla="*/ 547 h 820"/>
                <a:gd name="T10" fmla="*/ 137 w 2835"/>
                <a:gd name="T11" fmla="*/ 758 h 820"/>
                <a:gd name="T12" fmla="*/ 61 w 2835"/>
                <a:gd name="T13" fmla="*/ 814 h 820"/>
                <a:gd name="T14" fmla="*/ 5 w 2835"/>
                <a:gd name="T15" fmla="*/ 737 h 820"/>
                <a:gd name="T16" fmla="*/ 186 w 2835"/>
                <a:gd name="T17" fmla="*/ 451 h 820"/>
                <a:gd name="T18" fmla="*/ 526 w 2835"/>
                <a:gd name="T19" fmla="*/ 238 h 820"/>
                <a:gd name="T20" fmla="*/ 2364 w 2835"/>
                <a:gd name="T21" fmla="*/ 261 h 820"/>
                <a:gd name="T22" fmla="*/ 2828 w 2835"/>
                <a:gd name="T23" fmla="*/ 740 h 820"/>
                <a:gd name="T24" fmla="*/ 2775 w 2835"/>
                <a:gd name="T25" fmla="*/ 818 h 820"/>
                <a:gd name="T26" fmla="*/ 2762 w 2835"/>
                <a:gd name="T27" fmla="*/ 820 h 8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5" h="820">
                  <a:moveTo>
                    <a:pt x="2762" y="820"/>
                  </a:moveTo>
                  <a:cubicBezTo>
                    <a:pt x="2731" y="820"/>
                    <a:pt x="2703" y="798"/>
                    <a:pt x="2697" y="766"/>
                  </a:cubicBezTo>
                  <a:cubicBezTo>
                    <a:pt x="2665" y="601"/>
                    <a:pt x="2480" y="449"/>
                    <a:pt x="2315" y="385"/>
                  </a:cubicBezTo>
                  <a:cubicBezTo>
                    <a:pt x="1680" y="137"/>
                    <a:pt x="998" y="211"/>
                    <a:pt x="571" y="363"/>
                  </a:cubicBezTo>
                  <a:cubicBezTo>
                    <a:pt x="480" y="396"/>
                    <a:pt x="350" y="478"/>
                    <a:pt x="279" y="547"/>
                  </a:cubicBezTo>
                  <a:cubicBezTo>
                    <a:pt x="200" y="625"/>
                    <a:pt x="143" y="717"/>
                    <a:pt x="137" y="758"/>
                  </a:cubicBezTo>
                  <a:cubicBezTo>
                    <a:pt x="132" y="794"/>
                    <a:pt x="98" y="819"/>
                    <a:pt x="61" y="814"/>
                  </a:cubicBezTo>
                  <a:cubicBezTo>
                    <a:pt x="25" y="808"/>
                    <a:pt x="0" y="774"/>
                    <a:pt x="5" y="737"/>
                  </a:cubicBezTo>
                  <a:cubicBezTo>
                    <a:pt x="19" y="649"/>
                    <a:pt x="106" y="530"/>
                    <a:pt x="186" y="451"/>
                  </a:cubicBezTo>
                  <a:cubicBezTo>
                    <a:pt x="271" y="369"/>
                    <a:pt x="417" y="276"/>
                    <a:pt x="526" y="238"/>
                  </a:cubicBezTo>
                  <a:cubicBezTo>
                    <a:pt x="976" y="78"/>
                    <a:pt x="1695" y="0"/>
                    <a:pt x="2364" y="261"/>
                  </a:cubicBezTo>
                  <a:cubicBezTo>
                    <a:pt x="2557" y="336"/>
                    <a:pt x="2784" y="518"/>
                    <a:pt x="2828" y="740"/>
                  </a:cubicBezTo>
                  <a:cubicBezTo>
                    <a:pt x="2835" y="776"/>
                    <a:pt x="2811" y="811"/>
                    <a:pt x="2775" y="818"/>
                  </a:cubicBezTo>
                  <a:cubicBezTo>
                    <a:pt x="2771" y="820"/>
                    <a:pt x="2767" y="820"/>
                    <a:pt x="2762" y="8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1914">
              <a:extLst>
                <a:ext uri="{FF2B5EF4-FFF2-40B4-BE49-F238E27FC236}">
                  <a16:creationId xmlns:a16="http://schemas.microsoft.com/office/drawing/2014/main" id="{644E881C-B1C6-C5C6-DFF7-F1369704CFA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26438" y="2719388"/>
              <a:ext cx="38100" cy="76200"/>
            </a:xfrm>
            <a:custGeom>
              <a:avLst/>
              <a:gdLst>
                <a:gd name="T0" fmla="*/ 76 w 424"/>
                <a:gd name="T1" fmla="*/ 856 h 856"/>
                <a:gd name="T2" fmla="*/ 52 w 424"/>
                <a:gd name="T3" fmla="*/ 851 h 856"/>
                <a:gd name="T4" fmla="*/ 14 w 424"/>
                <a:gd name="T5" fmla="*/ 765 h 856"/>
                <a:gd name="T6" fmla="*/ 287 w 424"/>
                <a:gd name="T7" fmla="*/ 52 h 856"/>
                <a:gd name="T8" fmla="*/ 373 w 424"/>
                <a:gd name="T9" fmla="*/ 13 h 856"/>
                <a:gd name="T10" fmla="*/ 411 w 424"/>
                <a:gd name="T11" fmla="*/ 99 h 856"/>
                <a:gd name="T12" fmla="*/ 138 w 424"/>
                <a:gd name="T13" fmla="*/ 813 h 856"/>
                <a:gd name="T14" fmla="*/ 76 w 424"/>
                <a:gd name="T15" fmla="*/ 856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4" h="856">
                  <a:moveTo>
                    <a:pt x="76" y="856"/>
                  </a:moveTo>
                  <a:cubicBezTo>
                    <a:pt x="68" y="856"/>
                    <a:pt x="60" y="854"/>
                    <a:pt x="52" y="851"/>
                  </a:cubicBezTo>
                  <a:cubicBezTo>
                    <a:pt x="18" y="838"/>
                    <a:pt x="0" y="800"/>
                    <a:pt x="14" y="765"/>
                  </a:cubicBezTo>
                  <a:lnTo>
                    <a:pt x="287" y="52"/>
                  </a:lnTo>
                  <a:cubicBezTo>
                    <a:pt x="300" y="17"/>
                    <a:pt x="338" y="0"/>
                    <a:pt x="373" y="13"/>
                  </a:cubicBezTo>
                  <a:cubicBezTo>
                    <a:pt x="407" y="27"/>
                    <a:pt x="424" y="65"/>
                    <a:pt x="411" y="99"/>
                  </a:cubicBezTo>
                  <a:lnTo>
                    <a:pt x="138" y="813"/>
                  </a:lnTo>
                  <a:cubicBezTo>
                    <a:pt x="128" y="839"/>
                    <a:pt x="103" y="856"/>
                    <a:pt x="76" y="85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1915">
              <a:extLst>
                <a:ext uri="{FF2B5EF4-FFF2-40B4-BE49-F238E27FC236}">
                  <a16:creationId xmlns:a16="http://schemas.microsoft.com/office/drawing/2014/main" id="{89AF35DC-55D0-A31D-68BF-AF9C01DD37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288" y="2705101"/>
              <a:ext cx="46038" cy="95250"/>
            </a:xfrm>
            <a:custGeom>
              <a:avLst/>
              <a:gdLst>
                <a:gd name="T0" fmla="*/ 76 w 512"/>
                <a:gd name="T1" fmla="*/ 1045 h 1045"/>
                <a:gd name="T2" fmla="*/ 51 w 512"/>
                <a:gd name="T3" fmla="*/ 1040 h 1045"/>
                <a:gd name="T4" fmla="*/ 14 w 512"/>
                <a:gd name="T5" fmla="*/ 954 h 1045"/>
                <a:gd name="T6" fmla="*/ 375 w 512"/>
                <a:gd name="T7" fmla="*/ 51 h 1045"/>
                <a:gd name="T8" fmla="*/ 462 w 512"/>
                <a:gd name="T9" fmla="*/ 14 h 1045"/>
                <a:gd name="T10" fmla="*/ 498 w 512"/>
                <a:gd name="T11" fmla="*/ 100 h 1045"/>
                <a:gd name="T12" fmla="*/ 138 w 512"/>
                <a:gd name="T13" fmla="*/ 1003 h 1045"/>
                <a:gd name="T14" fmla="*/ 76 w 512"/>
                <a:gd name="T15" fmla="*/ 1045 h 1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2" h="1045">
                  <a:moveTo>
                    <a:pt x="76" y="1045"/>
                  </a:moveTo>
                  <a:cubicBezTo>
                    <a:pt x="68" y="1045"/>
                    <a:pt x="59" y="1044"/>
                    <a:pt x="51" y="1040"/>
                  </a:cubicBezTo>
                  <a:cubicBezTo>
                    <a:pt x="17" y="1027"/>
                    <a:pt x="0" y="988"/>
                    <a:pt x="14" y="954"/>
                  </a:cubicBezTo>
                  <a:lnTo>
                    <a:pt x="375" y="51"/>
                  </a:lnTo>
                  <a:cubicBezTo>
                    <a:pt x="389" y="17"/>
                    <a:pt x="427" y="0"/>
                    <a:pt x="462" y="14"/>
                  </a:cubicBezTo>
                  <a:cubicBezTo>
                    <a:pt x="496" y="27"/>
                    <a:pt x="512" y="66"/>
                    <a:pt x="498" y="100"/>
                  </a:cubicBezTo>
                  <a:lnTo>
                    <a:pt x="138" y="1003"/>
                  </a:lnTo>
                  <a:cubicBezTo>
                    <a:pt x="127" y="1029"/>
                    <a:pt x="102" y="1045"/>
                    <a:pt x="76" y="10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1916">
              <a:extLst>
                <a:ext uri="{FF2B5EF4-FFF2-40B4-BE49-F238E27FC236}">
                  <a16:creationId xmlns:a16="http://schemas.microsoft.com/office/drawing/2014/main" id="{95C78FDA-D3C1-6819-75B1-A4AD907B4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1838" y="2708276"/>
              <a:ext cx="53975" cy="106363"/>
            </a:xfrm>
            <a:custGeom>
              <a:avLst/>
              <a:gdLst>
                <a:gd name="T0" fmla="*/ 75 w 587"/>
                <a:gd name="T1" fmla="*/ 1181 h 1181"/>
                <a:gd name="T2" fmla="*/ 49 w 587"/>
                <a:gd name="T3" fmla="*/ 1176 h 1181"/>
                <a:gd name="T4" fmla="*/ 13 w 587"/>
                <a:gd name="T5" fmla="*/ 1088 h 1181"/>
                <a:gd name="T6" fmla="*/ 450 w 587"/>
                <a:gd name="T7" fmla="*/ 50 h 1181"/>
                <a:gd name="T8" fmla="*/ 537 w 587"/>
                <a:gd name="T9" fmla="*/ 15 h 1181"/>
                <a:gd name="T10" fmla="*/ 573 w 587"/>
                <a:gd name="T11" fmla="*/ 102 h 1181"/>
                <a:gd name="T12" fmla="*/ 137 w 587"/>
                <a:gd name="T13" fmla="*/ 1140 h 1181"/>
                <a:gd name="T14" fmla="*/ 75 w 587"/>
                <a:gd name="T15" fmla="*/ 1181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7" h="1181">
                  <a:moveTo>
                    <a:pt x="75" y="1181"/>
                  </a:moveTo>
                  <a:cubicBezTo>
                    <a:pt x="66" y="1181"/>
                    <a:pt x="58" y="1179"/>
                    <a:pt x="49" y="1176"/>
                  </a:cubicBezTo>
                  <a:cubicBezTo>
                    <a:pt x="15" y="1161"/>
                    <a:pt x="0" y="1122"/>
                    <a:pt x="13" y="1088"/>
                  </a:cubicBezTo>
                  <a:lnTo>
                    <a:pt x="450" y="50"/>
                  </a:lnTo>
                  <a:cubicBezTo>
                    <a:pt x="464" y="17"/>
                    <a:pt x="503" y="0"/>
                    <a:pt x="537" y="15"/>
                  </a:cubicBezTo>
                  <a:cubicBezTo>
                    <a:pt x="571" y="29"/>
                    <a:pt x="587" y="68"/>
                    <a:pt x="573" y="102"/>
                  </a:cubicBezTo>
                  <a:lnTo>
                    <a:pt x="137" y="1140"/>
                  </a:lnTo>
                  <a:cubicBezTo>
                    <a:pt x="126" y="1166"/>
                    <a:pt x="101" y="1181"/>
                    <a:pt x="75" y="118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917">
              <a:extLst>
                <a:ext uri="{FF2B5EF4-FFF2-40B4-BE49-F238E27FC236}">
                  <a16:creationId xmlns:a16="http://schemas.microsoft.com/office/drawing/2014/main" id="{87695B67-CAE5-3B63-1537-1118B4ED448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1988" y="2741613"/>
              <a:ext cx="55563" cy="57150"/>
            </a:xfrm>
            <a:custGeom>
              <a:avLst/>
              <a:gdLst>
                <a:gd name="T0" fmla="*/ 548 w 614"/>
                <a:gd name="T1" fmla="*/ 649 h 649"/>
                <a:gd name="T2" fmla="*/ 67 w 614"/>
                <a:gd name="T3" fmla="*/ 649 h 649"/>
                <a:gd name="T4" fmla="*/ 0 w 614"/>
                <a:gd name="T5" fmla="*/ 582 h 649"/>
                <a:gd name="T6" fmla="*/ 0 w 614"/>
                <a:gd name="T7" fmla="*/ 67 h 649"/>
                <a:gd name="T8" fmla="*/ 67 w 614"/>
                <a:gd name="T9" fmla="*/ 0 h 649"/>
                <a:gd name="T10" fmla="*/ 530 w 614"/>
                <a:gd name="T11" fmla="*/ 0 h 649"/>
                <a:gd name="T12" fmla="*/ 597 w 614"/>
                <a:gd name="T13" fmla="*/ 67 h 649"/>
                <a:gd name="T14" fmla="*/ 530 w 614"/>
                <a:gd name="T15" fmla="*/ 134 h 649"/>
                <a:gd name="T16" fmla="*/ 134 w 614"/>
                <a:gd name="T17" fmla="*/ 134 h 649"/>
                <a:gd name="T18" fmla="*/ 134 w 614"/>
                <a:gd name="T19" fmla="*/ 516 h 649"/>
                <a:gd name="T20" fmla="*/ 548 w 614"/>
                <a:gd name="T21" fmla="*/ 516 h 649"/>
                <a:gd name="T22" fmla="*/ 614 w 614"/>
                <a:gd name="T23" fmla="*/ 582 h 649"/>
                <a:gd name="T24" fmla="*/ 548 w 614"/>
                <a:gd name="T25" fmla="*/ 649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14" h="649">
                  <a:moveTo>
                    <a:pt x="548" y="649"/>
                  </a:moveTo>
                  <a:lnTo>
                    <a:pt x="67" y="649"/>
                  </a:lnTo>
                  <a:cubicBezTo>
                    <a:pt x="30" y="649"/>
                    <a:pt x="0" y="619"/>
                    <a:pt x="0" y="582"/>
                  </a:cubicBezTo>
                  <a:lnTo>
                    <a:pt x="0" y="67"/>
                  </a:lnTo>
                  <a:cubicBezTo>
                    <a:pt x="0" y="30"/>
                    <a:pt x="30" y="0"/>
                    <a:pt x="67" y="0"/>
                  </a:cubicBezTo>
                  <a:lnTo>
                    <a:pt x="530" y="0"/>
                  </a:lnTo>
                  <a:cubicBezTo>
                    <a:pt x="567" y="0"/>
                    <a:pt x="597" y="30"/>
                    <a:pt x="597" y="67"/>
                  </a:cubicBezTo>
                  <a:cubicBezTo>
                    <a:pt x="597" y="104"/>
                    <a:pt x="567" y="134"/>
                    <a:pt x="530" y="134"/>
                  </a:cubicBezTo>
                  <a:lnTo>
                    <a:pt x="134" y="134"/>
                  </a:lnTo>
                  <a:lnTo>
                    <a:pt x="134" y="516"/>
                  </a:lnTo>
                  <a:lnTo>
                    <a:pt x="548" y="516"/>
                  </a:lnTo>
                  <a:cubicBezTo>
                    <a:pt x="584" y="516"/>
                    <a:pt x="614" y="545"/>
                    <a:pt x="614" y="582"/>
                  </a:cubicBezTo>
                  <a:cubicBezTo>
                    <a:pt x="614" y="619"/>
                    <a:pt x="584" y="649"/>
                    <a:pt x="548" y="64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1918">
              <a:extLst>
                <a:ext uri="{FF2B5EF4-FFF2-40B4-BE49-F238E27FC236}">
                  <a16:creationId xmlns:a16="http://schemas.microsoft.com/office/drawing/2014/main" id="{D3762535-38C3-FB7D-CA2A-F05E20744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9638" y="2741613"/>
              <a:ext cx="47625" cy="57150"/>
            </a:xfrm>
            <a:custGeom>
              <a:avLst/>
              <a:gdLst>
                <a:gd name="T0" fmla="*/ 471 w 537"/>
                <a:gd name="T1" fmla="*/ 648 h 648"/>
                <a:gd name="T2" fmla="*/ 67 w 537"/>
                <a:gd name="T3" fmla="*/ 648 h 648"/>
                <a:gd name="T4" fmla="*/ 0 w 537"/>
                <a:gd name="T5" fmla="*/ 581 h 648"/>
                <a:gd name="T6" fmla="*/ 67 w 537"/>
                <a:gd name="T7" fmla="*/ 515 h 648"/>
                <a:gd name="T8" fmla="*/ 404 w 537"/>
                <a:gd name="T9" fmla="*/ 515 h 648"/>
                <a:gd name="T10" fmla="*/ 404 w 537"/>
                <a:gd name="T11" fmla="*/ 133 h 648"/>
                <a:gd name="T12" fmla="*/ 67 w 537"/>
                <a:gd name="T13" fmla="*/ 133 h 648"/>
                <a:gd name="T14" fmla="*/ 0 w 537"/>
                <a:gd name="T15" fmla="*/ 66 h 648"/>
                <a:gd name="T16" fmla="*/ 67 w 537"/>
                <a:gd name="T17" fmla="*/ 0 h 648"/>
                <a:gd name="T18" fmla="*/ 471 w 537"/>
                <a:gd name="T19" fmla="*/ 0 h 648"/>
                <a:gd name="T20" fmla="*/ 537 w 537"/>
                <a:gd name="T21" fmla="*/ 66 h 648"/>
                <a:gd name="T22" fmla="*/ 537 w 537"/>
                <a:gd name="T23" fmla="*/ 581 h 648"/>
                <a:gd name="T24" fmla="*/ 471 w 537"/>
                <a:gd name="T25" fmla="*/ 648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7" h="648">
                  <a:moveTo>
                    <a:pt x="471" y="648"/>
                  </a:moveTo>
                  <a:lnTo>
                    <a:pt x="67" y="648"/>
                  </a:lnTo>
                  <a:cubicBezTo>
                    <a:pt x="31" y="648"/>
                    <a:pt x="0" y="618"/>
                    <a:pt x="0" y="581"/>
                  </a:cubicBezTo>
                  <a:cubicBezTo>
                    <a:pt x="0" y="545"/>
                    <a:pt x="31" y="515"/>
                    <a:pt x="67" y="515"/>
                  </a:cubicBezTo>
                  <a:lnTo>
                    <a:pt x="404" y="515"/>
                  </a:lnTo>
                  <a:lnTo>
                    <a:pt x="404" y="133"/>
                  </a:lnTo>
                  <a:lnTo>
                    <a:pt x="67" y="133"/>
                  </a:lnTo>
                  <a:cubicBezTo>
                    <a:pt x="31" y="133"/>
                    <a:pt x="0" y="103"/>
                    <a:pt x="0" y="66"/>
                  </a:cubicBezTo>
                  <a:cubicBezTo>
                    <a:pt x="0" y="29"/>
                    <a:pt x="31" y="0"/>
                    <a:pt x="67" y="0"/>
                  </a:cubicBezTo>
                  <a:lnTo>
                    <a:pt x="471" y="0"/>
                  </a:lnTo>
                  <a:cubicBezTo>
                    <a:pt x="508" y="0"/>
                    <a:pt x="537" y="29"/>
                    <a:pt x="537" y="66"/>
                  </a:cubicBezTo>
                  <a:lnTo>
                    <a:pt x="537" y="581"/>
                  </a:lnTo>
                  <a:cubicBezTo>
                    <a:pt x="537" y="618"/>
                    <a:pt x="508" y="648"/>
                    <a:pt x="471" y="6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1919">
              <a:extLst>
                <a:ext uri="{FF2B5EF4-FFF2-40B4-BE49-F238E27FC236}">
                  <a16:creationId xmlns:a16="http://schemas.microsoft.com/office/drawing/2014/main" id="{D90BD71B-A408-D8C4-9BB2-8165B495F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5651" y="2805113"/>
              <a:ext cx="122238" cy="36513"/>
            </a:xfrm>
            <a:custGeom>
              <a:avLst/>
              <a:gdLst>
                <a:gd name="T0" fmla="*/ 1097 w 1358"/>
                <a:gd name="T1" fmla="*/ 409 h 409"/>
                <a:gd name="T2" fmla="*/ 981 w 1358"/>
                <a:gd name="T3" fmla="*/ 397 h 409"/>
                <a:gd name="T4" fmla="*/ 710 w 1358"/>
                <a:gd name="T5" fmla="*/ 210 h 409"/>
                <a:gd name="T6" fmla="*/ 688 w 1358"/>
                <a:gd name="T7" fmla="*/ 178 h 409"/>
                <a:gd name="T8" fmla="*/ 644 w 1358"/>
                <a:gd name="T9" fmla="*/ 133 h 409"/>
                <a:gd name="T10" fmla="*/ 555 w 1358"/>
                <a:gd name="T11" fmla="*/ 214 h 409"/>
                <a:gd name="T12" fmla="*/ 426 w 1358"/>
                <a:gd name="T13" fmla="*/ 327 h 409"/>
                <a:gd name="T14" fmla="*/ 59 w 1358"/>
                <a:gd name="T15" fmla="*/ 368 h 409"/>
                <a:gd name="T16" fmla="*/ 7 w 1358"/>
                <a:gd name="T17" fmla="*/ 289 h 409"/>
                <a:gd name="T18" fmla="*/ 86 w 1358"/>
                <a:gd name="T19" fmla="*/ 237 h 409"/>
                <a:gd name="T20" fmla="*/ 361 w 1358"/>
                <a:gd name="T21" fmla="*/ 210 h 409"/>
                <a:gd name="T22" fmla="*/ 459 w 1358"/>
                <a:gd name="T23" fmla="*/ 121 h 409"/>
                <a:gd name="T24" fmla="*/ 642 w 1358"/>
                <a:gd name="T25" fmla="*/ 0 h 409"/>
                <a:gd name="T26" fmla="*/ 643 w 1358"/>
                <a:gd name="T27" fmla="*/ 0 h 409"/>
                <a:gd name="T28" fmla="*/ 799 w 1358"/>
                <a:gd name="T29" fmla="*/ 104 h 409"/>
                <a:gd name="T30" fmla="*/ 817 w 1358"/>
                <a:gd name="T31" fmla="*/ 129 h 409"/>
                <a:gd name="T32" fmla="*/ 1005 w 1358"/>
                <a:gd name="T33" fmla="*/ 266 h 409"/>
                <a:gd name="T34" fmla="*/ 1007 w 1358"/>
                <a:gd name="T35" fmla="*/ 266 h 409"/>
                <a:gd name="T36" fmla="*/ 1247 w 1358"/>
                <a:gd name="T37" fmla="*/ 238 h 409"/>
                <a:gd name="T38" fmla="*/ 1339 w 1358"/>
                <a:gd name="T39" fmla="*/ 261 h 409"/>
                <a:gd name="T40" fmla="*/ 1316 w 1358"/>
                <a:gd name="T41" fmla="*/ 352 h 409"/>
                <a:gd name="T42" fmla="*/ 1097 w 1358"/>
                <a:gd name="T43" fmla="*/ 409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58" h="409">
                  <a:moveTo>
                    <a:pt x="1097" y="409"/>
                  </a:moveTo>
                  <a:cubicBezTo>
                    <a:pt x="1062" y="409"/>
                    <a:pt x="1023" y="406"/>
                    <a:pt x="981" y="397"/>
                  </a:cubicBezTo>
                  <a:cubicBezTo>
                    <a:pt x="879" y="377"/>
                    <a:pt x="791" y="316"/>
                    <a:pt x="710" y="210"/>
                  </a:cubicBezTo>
                  <a:cubicBezTo>
                    <a:pt x="702" y="199"/>
                    <a:pt x="695" y="189"/>
                    <a:pt x="688" y="178"/>
                  </a:cubicBezTo>
                  <a:cubicBezTo>
                    <a:pt x="664" y="143"/>
                    <a:pt x="656" y="134"/>
                    <a:pt x="644" y="133"/>
                  </a:cubicBezTo>
                  <a:cubicBezTo>
                    <a:pt x="625" y="140"/>
                    <a:pt x="582" y="186"/>
                    <a:pt x="555" y="214"/>
                  </a:cubicBezTo>
                  <a:cubicBezTo>
                    <a:pt x="514" y="257"/>
                    <a:pt x="472" y="301"/>
                    <a:pt x="426" y="327"/>
                  </a:cubicBezTo>
                  <a:cubicBezTo>
                    <a:pt x="291" y="401"/>
                    <a:pt x="170" y="391"/>
                    <a:pt x="59" y="368"/>
                  </a:cubicBezTo>
                  <a:cubicBezTo>
                    <a:pt x="23" y="360"/>
                    <a:pt x="0" y="325"/>
                    <a:pt x="7" y="289"/>
                  </a:cubicBezTo>
                  <a:cubicBezTo>
                    <a:pt x="14" y="253"/>
                    <a:pt x="50" y="229"/>
                    <a:pt x="86" y="237"/>
                  </a:cubicBezTo>
                  <a:cubicBezTo>
                    <a:pt x="188" y="258"/>
                    <a:pt x="269" y="261"/>
                    <a:pt x="361" y="210"/>
                  </a:cubicBezTo>
                  <a:cubicBezTo>
                    <a:pt x="389" y="195"/>
                    <a:pt x="426" y="156"/>
                    <a:pt x="459" y="121"/>
                  </a:cubicBezTo>
                  <a:cubicBezTo>
                    <a:pt x="519" y="59"/>
                    <a:pt x="575" y="0"/>
                    <a:pt x="642" y="0"/>
                  </a:cubicBezTo>
                  <a:lnTo>
                    <a:pt x="643" y="0"/>
                  </a:lnTo>
                  <a:cubicBezTo>
                    <a:pt x="729" y="0"/>
                    <a:pt x="771" y="63"/>
                    <a:pt x="799" y="104"/>
                  </a:cubicBezTo>
                  <a:cubicBezTo>
                    <a:pt x="805" y="113"/>
                    <a:pt x="810" y="121"/>
                    <a:pt x="817" y="129"/>
                  </a:cubicBezTo>
                  <a:cubicBezTo>
                    <a:pt x="878" y="209"/>
                    <a:pt x="937" y="253"/>
                    <a:pt x="1005" y="266"/>
                  </a:cubicBezTo>
                  <a:lnTo>
                    <a:pt x="1007" y="266"/>
                  </a:lnTo>
                  <a:cubicBezTo>
                    <a:pt x="1127" y="290"/>
                    <a:pt x="1204" y="264"/>
                    <a:pt x="1247" y="238"/>
                  </a:cubicBezTo>
                  <a:cubicBezTo>
                    <a:pt x="1279" y="219"/>
                    <a:pt x="1320" y="229"/>
                    <a:pt x="1339" y="261"/>
                  </a:cubicBezTo>
                  <a:cubicBezTo>
                    <a:pt x="1358" y="293"/>
                    <a:pt x="1347" y="334"/>
                    <a:pt x="1316" y="352"/>
                  </a:cubicBezTo>
                  <a:cubicBezTo>
                    <a:pt x="1269" y="381"/>
                    <a:pt x="1196" y="409"/>
                    <a:pt x="1097" y="40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1920">
              <a:extLst>
                <a:ext uri="{FF2B5EF4-FFF2-40B4-BE49-F238E27FC236}">
                  <a16:creationId xmlns:a16="http://schemas.microsoft.com/office/drawing/2014/main" id="{A743A0FE-B487-9B13-B7D9-496F010F6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1363" y="2525713"/>
              <a:ext cx="57150" cy="63500"/>
            </a:xfrm>
            <a:custGeom>
              <a:avLst/>
              <a:gdLst>
                <a:gd name="T0" fmla="*/ 568 w 642"/>
                <a:gd name="T1" fmla="*/ 702 h 702"/>
                <a:gd name="T2" fmla="*/ 517 w 642"/>
                <a:gd name="T3" fmla="*/ 680 h 702"/>
                <a:gd name="T4" fmla="*/ 24 w 642"/>
                <a:gd name="T5" fmla="*/ 119 h 702"/>
                <a:gd name="T6" fmla="*/ 30 w 642"/>
                <a:gd name="T7" fmla="*/ 24 h 702"/>
                <a:gd name="T8" fmla="*/ 125 w 642"/>
                <a:gd name="T9" fmla="*/ 31 h 702"/>
                <a:gd name="T10" fmla="*/ 617 w 642"/>
                <a:gd name="T11" fmla="*/ 591 h 702"/>
                <a:gd name="T12" fmla="*/ 612 w 642"/>
                <a:gd name="T13" fmla="*/ 685 h 702"/>
                <a:gd name="T14" fmla="*/ 568 w 642"/>
                <a:gd name="T15" fmla="*/ 702 h 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2" h="702">
                  <a:moveTo>
                    <a:pt x="568" y="702"/>
                  </a:moveTo>
                  <a:cubicBezTo>
                    <a:pt x="549" y="702"/>
                    <a:pt x="531" y="694"/>
                    <a:pt x="517" y="680"/>
                  </a:cubicBezTo>
                  <a:lnTo>
                    <a:pt x="24" y="119"/>
                  </a:lnTo>
                  <a:cubicBezTo>
                    <a:pt x="0" y="91"/>
                    <a:pt x="3" y="49"/>
                    <a:pt x="30" y="24"/>
                  </a:cubicBezTo>
                  <a:cubicBezTo>
                    <a:pt x="58" y="0"/>
                    <a:pt x="100" y="3"/>
                    <a:pt x="125" y="31"/>
                  </a:cubicBezTo>
                  <a:lnTo>
                    <a:pt x="617" y="591"/>
                  </a:lnTo>
                  <a:cubicBezTo>
                    <a:pt x="642" y="619"/>
                    <a:pt x="639" y="661"/>
                    <a:pt x="612" y="685"/>
                  </a:cubicBezTo>
                  <a:cubicBezTo>
                    <a:pt x="599" y="697"/>
                    <a:pt x="583" y="702"/>
                    <a:pt x="568" y="702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1921">
              <a:extLst>
                <a:ext uri="{FF2B5EF4-FFF2-40B4-BE49-F238E27FC236}">
                  <a16:creationId xmlns:a16="http://schemas.microsoft.com/office/drawing/2014/main" id="{492CB02A-2346-EC1F-BA78-7285E8311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5176" y="2505076"/>
              <a:ext cx="57150" cy="63500"/>
            </a:xfrm>
            <a:custGeom>
              <a:avLst/>
              <a:gdLst>
                <a:gd name="T0" fmla="*/ 567 w 642"/>
                <a:gd name="T1" fmla="*/ 702 h 702"/>
                <a:gd name="T2" fmla="*/ 518 w 642"/>
                <a:gd name="T3" fmla="*/ 680 h 702"/>
                <a:gd name="T4" fmla="*/ 24 w 642"/>
                <a:gd name="T5" fmla="*/ 118 h 702"/>
                <a:gd name="T6" fmla="*/ 31 w 642"/>
                <a:gd name="T7" fmla="*/ 25 h 702"/>
                <a:gd name="T8" fmla="*/ 125 w 642"/>
                <a:gd name="T9" fmla="*/ 30 h 702"/>
                <a:gd name="T10" fmla="*/ 618 w 642"/>
                <a:gd name="T11" fmla="*/ 591 h 702"/>
                <a:gd name="T12" fmla="*/ 612 w 642"/>
                <a:gd name="T13" fmla="*/ 686 h 702"/>
                <a:gd name="T14" fmla="*/ 567 w 642"/>
                <a:gd name="T15" fmla="*/ 702 h 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2" h="702">
                  <a:moveTo>
                    <a:pt x="567" y="702"/>
                  </a:moveTo>
                  <a:cubicBezTo>
                    <a:pt x="549" y="702"/>
                    <a:pt x="531" y="694"/>
                    <a:pt x="518" y="680"/>
                  </a:cubicBezTo>
                  <a:lnTo>
                    <a:pt x="24" y="118"/>
                  </a:lnTo>
                  <a:cubicBezTo>
                    <a:pt x="0" y="91"/>
                    <a:pt x="3" y="49"/>
                    <a:pt x="31" y="25"/>
                  </a:cubicBezTo>
                  <a:cubicBezTo>
                    <a:pt x="58" y="0"/>
                    <a:pt x="100" y="3"/>
                    <a:pt x="125" y="30"/>
                  </a:cubicBezTo>
                  <a:lnTo>
                    <a:pt x="618" y="591"/>
                  </a:lnTo>
                  <a:cubicBezTo>
                    <a:pt x="642" y="619"/>
                    <a:pt x="639" y="661"/>
                    <a:pt x="612" y="686"/>
                  </a:cubicBezTo>
                  <a:cubicBezTo>
                    <a:pt x="599" y="697"/>
                    <a:pt x="583" y="702"/>
                    <a:pt x="567" y="702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1922">
              <a:extLst>
                <a:ext uri="{FF2B5EF4-FFF2-40B4-BE49-F238E27FC236}">
                  <a16:creationId xmlns:a16="http://schemas.microsoft.com/office/drawing/2014/main" id="{59340EFE-C3E0-5538-7040-0B6D74E50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6151" y="2760663"/>
              <a:ext cx="31750" cy="33338"/>
            </a:xfrm>
            <a:custGeom>
              <a:avLst/>
              <a:gdLst>
                <a:gd name="T0" fmla="*/ 269 w 343"/>
                <a:gd name="T1" fmla="*/ 362 h 362"/>
                <a:gd name="T2" fmla="*/ 219 w 343"/>
                <a:gd name="T3" fmla="*/ 339 h 362"/>
                <a:gd name="T4" fmla="*/ 25 w 343"/>
                <a:gd name="T5" fmla="*/ 118 h 362"/>
                <a:gd name="T6" fmla="*/ 31 w 343"/>
                <a:gd name="T7" fmla="*/ 24 h 362"/>
                <a:gd name="T8" fmla="*/ 124 w 343"/>
                <a:gd name="T9" fmla="*/ 30 h 362"/>
                <a:gd name="T10" fmla="*/ 319 w 343"/>
                <a:gd name="T11" fmla="*/ 251 h 362"/>
                <a:gd name="T12" fmla="*/ 313 w 343"/>
                <a:gd name="T13" fmla="*/ 345 h 362"/>
                <a:gd name="T14" fmla="*/ 269 w 343"/>
                <a:gd name="T15" fmla="*/ 36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3" h="362">
                  <a:moveTo>
                    <a:pt x="269" y="362"/>
                  </a:moveTo>
                  <a:cubicBezTo>
                    <a:pt x="251" y="362"/>
                    <a:pt x="232" y="354"/>
                    <a:pt x="219" y="339"/>
                  </a:cubicBezTo>
                  <a:lnTo>
                    <a:pt x="25" y="118"/>
                  </a:lnTo>
                  <a:cubicBezTo>
                    <a:pt x="0" y="90"/>
                    <a:pt x="3" y="48"/>
                    <a:pt x="31" y="24"/>
                  </a:cubicBezTo>
                  <a:cubicBezTo>
                    <a:pt x="58" y="0"/>
                    <a:pt x="100" y="2"/>
                    <a:pt x="124" y="30"/>
                  </a:cubicBezTo>
                  <a:lnTo>
                    <a:pt x="319" y="251"/>
                  </a:lnTo>
                  <a:cubicBezTo>
                    <a:pt x="343" y="279"/>
                    <a:pt x="341" y="321"/>
                    <a:pt x="313" y="345"/>
                  </a:cubicBezTo>
                  <a:cubicBezTo>
                    <a:pt x="300" y="356"/>
                    <a:pt x="285" y="362"/>
                    <a:pt x="269" y="362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1923">
              <a:extLst>
                <a:ext uri="{FF2B5EF4-FFF2-40B4-BE49-F238E27FC236}">
                  <a16:creationId xmlns:a16="http://schemas.microsoft.com/office/drawing/2014/main" id="{A582B868-AFB1-129E-718C-B8BC24791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563" y="2709863"/>
              <a:ext cx="57150" cy="61913"/>
            </a:xfrm>
            <a:custGeom>
              <a:avLst/>
              <a:gdLst>
                <a:gd name="T0" fmla="*/ 568 w 642"/>
                <a:gd name="T1" fmla="*/ 702 h 702"/>
                <a:gd name="T2" fmla="*/ 518 w 642"/>
                <a:gd name="T3" fmla="*/ 679 h 702"/>
                <a:gd name="T4" fmla="*/ 25 w 642"/>
                <a:gd name="T5" fmla="*/ 119 h 702"/>
                <a:gd name="T6" fmla="*/ 31 w 642"/>
                <a:gd name="T7" fmla="*/ 25 h 702"/>
                <a:gd name="T8" fmla="*/ 125 w 642"/>
                <a:gd name="T9" fmla="*/ 31 h 702"/>
                <a:gd name="T10" fmla="*/ 618 w 642"/>
                <a:gd name="T11" fmla="*/ 591 h 702"/>
                <a:gd name="T12" fmla="*/ 612 w 642"/>
                <a:gd name="T13" fmla="*/ 686 h 702"/>
                <a:gd name="T14" fmla="*/ 568 w 642"/>
                <a:gd name="T15" fmla="*/ 702 h 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2" h="702">
                  <a:moveTo>
                    <a:pt x="568" y="702"/>
                  </a:moveTo>
                  <a:cubicBezTo>
                    <a:pt x="550" y="702"/>
                    <a:pt x="531" y="695"/>
                    <a:pt x="518" y="679"/>
                  </a:cubicBezTo>
                  <a:lnTo>
                    <a:pt x="25" y="119"/>
                  </a:lnTo>
                  <a:cubicBezTo>
                    <a:pt x="0" y="91"/>
                    <a:pt x="3" y="49"/>
                    <a:pt x="31" y="25"/>
                  </a:cubicBezTo>
                  <a:cubicBezTo>
                    <a:pt x="58" y="0"/>
                    <a:pt x="101" y="3"/>
                    <a:pt x="125" y="31"/>
                  </a:cubicBezTo>
                  <a:lnTo>
                    <a:pt x="618" y="591"/>
                  </a:lnTo>
                  <a:cubicBezTo>
                    <a:pt x="642" y="619"/>
                    <a:pt x="640" y="661"/>
                    <a:pt x="612" y="686"/>
                  </a:cubicBezTo>
                  <a:cubicBezTo>
                    <a:pt x="600" y="697"/>
                    <a:pt x="584" y="702"/>
                    <a:pt x="568" y="702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1924">
              <a:extLst>
                <a:ext uri="{FF2B5EF4-FFF2-40B4-BE49-F238E27FC236}">
                  <a16:creationId xmlns:a16="http://schemas.microsoft.com/office/drawing/2014/main" id="{5B7147F5-195C-A662-B6ED-CF647CCE8EC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9763" y="2403476"/>
              <a:ext cx="301625" cy="280988"/>
            </a:xfrm>
            <a:custGeom>
              <a:avLst/>
              <a:gdLst>
                <a:gd name="T0" fmla="*/ 1998 w 3363"/>
                <a:gd name="T1" fmla="*/ 3111 h 3111"/>
                <a:gd name="T2" fmla="*/ 1946 w 3363"/>
                <a:gd name="T3" fmla="*/ 3086 h 3111"/>
                <a:gd name="T4" fmla="*/ 1875 w 3363"/>
                <a:gd name="T5" fmla="*/ 2999 h 3111"/>
                <a:gd name="T6" fmla="*/ 317 w 3363"/>
                <a:gd name="T7" fmla="*/ 1443 h 3111"/>
                <a:gd name="T8" fmla="*/ 313 w 3363"/>
                <a:gd name="T9" fmla="*/ 1438 h 3111"/>
                <a:gd name="T10" fmla="*/ 391 w 3363"/>
                <a:gd name="T11" fmla="*/ 227 h 3111"/>
                <a:gd name="T12" fmla="*/ 1012 w 3363"/>
                <a:gd name="T13" fmla="*/ 15 h 3111"/>
                <a:gd name="T14" fmla="*/ 1601 w 3363"/>
                <a:gd name="T15" fmla="*/ 305 h 3111"/>
                <a:gd name="T16" fmla="*/ 1607 w 3363"/>
                <a:gd name="T17" fmla="*/ 312 h 3111"/>
                <a:gd name="T18" fmla="*/ 2906 w 3363"/>
                <a:gd name="T19" fmla="*/ 2112 h 3111"/>
                <a:gd name="T20" fmla="*/ 3336 w 3363"/>
                <a:gd name="T21" fmla="*/ 2563 h 3111"/>
                <a:gd name="T22" fmla="*/ 3338 w 3363"/>
                <a:gd name="T23" fmla="*/ 2657 h 3111"/>
                <a:gd name="T24" fmla="*/ 3243 w 3363"/>
                <a:gd name="T25" fmla="*/ 2659 h 3111"/>
                <a:gd name="T26" fmla="*/ 2804 w 3363"/>
                <a:gd name="T27" fmla="*/ 2198 h 3111"/>
                <a:gd name="T28" fmla="*/ 1498 w 3363"/>
                <a:gd name="T29" fmla="*/ 390 h 3111"/>
                <a:gd name="T30" fmla="*/ 1003 w 3363"/>
                <a:gd name="T31" fmla="*/ 148 h 3111"/>
                <a:gd name="T32" fmla="*/ 479 w 3363"/>
                <a:gd name="T33" fmla="*/ 327 h 3111"/>
                <a:gd name="T34" fmla="*/ 411 w 3363"/>
                <a:gd name="T35" fmla="*/ 1347 h 3111"/>
                <a:gd name="T36" fmla="*/ 1978 w 3363"/>
                <a:gd name="T37" fmla="*/ 2914 h 3111"/>
                <a:gd name="T38" fmla="*/ 2050 w 3363"/>
                <a:gd name="T39" fmla="*/ 3002 h 3111"/>
                <a:gd name="T40" fmla="*/ 2040 w 3363"/>
                <a:gd name="T41" fmla="*/ 3096 h 3111"/>
                <a:gd name="T42" fmla="*/ 1998 w 3363"/>
                <a:gd name="T43" fmla="*/ 3111 h 3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63" h="3111">
                  <a:moveTo>
                    <a:pt x="1998" y="3111"/>
                  </a:moveTo>
                  <a:cubicBezTo>
                    <a:pt x="1978" y="3111"/>
                    <a:pt x="1959" y="3102"/>
                    <a:pt x="1946" y="3086"/>
                  </a:cubicBezTo>
                  <a:cubicBezTo>
                    <a:pt x="1921" y="3055"/>
                    <a:pt x="1897" y="3025"/>
                    <a:pt x="1875" y="2999"/>
                  </a:cubicBezTo>
                  <a:cubicBezTo>
                    <a:pt x="1482" y="2523"/>
                    <a:pt x="329" y="1454"/>
                    <a:pt x="317" y="1443"/>
                  </a:cubicBezTo>
                  <a:cubicBezTo>
                    <a:pt x="316" y="1442"/>
                    <a:pt x="314" y="1440"/>
                    <a:pt x="313" y="1438"/>
                  </a:cubicBezTo>
                  <a:cubicBezTo>
                    <a:pt x="0" y="1083"/>
                    <a:pt x="35" y="539"/>
                    <a:pt x="391" y="227"/>
                  </a:cubicBezTo>
                  <a:cubicBezTo>
                    <a:pt x="563" y="76"/>
                    <a:pt x="783" y="0"/>
                    <a:pt x="1012" y="15"/>
                  </a:cubicBezTo>
                  <a:cubicBezTo>
                    <a:pt x="1241" y="30"/>
                    <a:pt x="1450" y="133"/>
                    <a:pt x="1601" y="305"/>
                  </a:cubicBezTo>
                  <a:cubicBezTo>
                    <a:pt x="1603" y="307"/>
                    <a:pt x="1605" y="310"/>
                    <a:pt x="1607" y="312"/>
                  </a:cubicBezTo>
                  <a:cubicBezTo>
                    <a:pt x="1615" y="324"/>
                    <a:pt x="2441" y="1558"/>
                    <a:pt x="2906" y="2112"/>
                  </a:cubicBezTo>
                  <a:cubicBezTo>
                    <a:pt x="3010" y="2236"/>
                    <a:pt x="3155" y="2387"/>
                    <a:pt x="3336" y="2563"/>
                  </a:cubicBezTo>
                  <a:cubicBezTo>
                    <a:pt x="3363" y="2588"/>
                    <a:pt x="3363" y="2630"/>
                    <a:pt x="3338" y="2657"/>
                  </a:cubicBezTo>
                  <a:cubicBezTo>
                    <a:pt x="3312" y="2683"/>
                    <a:pt x="3270" y="2684"/>
                    <a:pt x="3243" y="2659"/>
                  </a:cubicBezTo>
                  <a:cubicBezTo>
                    <a:pt x="3059" y="2480"/>
                    <a:pt x="2911" y="2325"/>
                    <a:pt x="2804" y="2198"/>
                  </a:cubicBezTo>
                  <a:cubicBezTo>
                    <a:pt x="2347" y="1654"/>
                    <a:pt x="1550" y="466"/>
                    <a:pt x="1498" y="390"/>
                  </a:cubicBezTo>
                  <a:cubicBezTo>
                    <a:pt x="1371" y="246"/>
                    <a:pt x="1195" y="161"/>
                    <a:pt x="1003" y="148"/>
                  </a:cubicBezTo>
                  <a:cubicBezTo>
                    <a:pt x="810" y="136"/>
                    <a:pt x="624" y="200"/>
                    <a:pt x="479" y="327"/>
                  </a:cubicBezTo>
                  <a:cubicBezTo>
                    <a:pt x="179" y="590"/>
                    <a:pt x="149" y="1047"/>
                    <a:pt x="411" y="1347"/>
                  </a:cubicBezTo>
                  <a:cubicBezTo>
                    <a:pt x="487" y="1418"/>
                    <a:pt x="1585" y="2438"/>
                    <a:pt x="1978" y="2914"/>
                  </a:cubicBezTo>
                  <a:cubicBezTo>
                    <a:pt x="2000" y="2941"/>
                    <a:pt x="2024" y="2970"/>
                    <a:pt x="2050" y="3002"/>
                  </a:cubicBezTo>
                  <a:cubicBezTo>
                    <a:pt x="2073" y="3031"/>
                    <a:pt x="2068" y="3072"/>
                    <a:pt x="2040" y="3096"/>
                  </a:cubicBezTo>
                  <a:cubicBezTo>
                    <a:pt x="2028" y="3106"/>
                    <a:pt x="2013" y="3111"/>
                    <a:pt x="1998" y="3111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1925">
              <a:extLst>
                <a:ext uri="{FF2B5EF4-FFF2-40B4-BE49-F238E27FC236}">
                  <a16:creationId xmlns:a16="http://schemas.microsoft.com/office/drawing/2014/main" id="{398B8E1C-30D9-DB79-71B8-1AD103C1D98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3926" y="2662238"/>
              <a:ext cx="141288" cy="195263"/>
            </a:xfrm>
            <a:custGeom>
              <a:avLst/>
              <a:gdLst>
                <a:gd name="T0" fmla="*/ 701 w 1570"/>
                <a:gd name="T1" fmla="*/ 2174 h 2174"/>
                <a:gd name="T2" fmla="*/ 644 w 1570"/>
                <a:gd name="T3" fmla="*/ 2172 h 2174"/>
                <a:gd name="T4" fmla="*/ 55 w 1570"/>
                <a:gd name="T5" fmla="*/ 1883 h 2174"/>
                <a:gd name="T6" fmla="*/ 52 w 1570"/>
                <a:gd name="T7" fmla="*/ 1879 h 2174"/>
                <a:gd name="T8" fmla="*/ 22 w 1570"/>
                <a:gd name="T9" fmla="*/ 1839 h 2174"/>
                <a:gd name="T10" fmla="*/ 35 w 1570"/>
                <a:gd name="T11" fmla="*/ 1746 h 2174"/>
                <a:gd name="T12" fmla="*/ 128 w 1570"/>
                <a:gd name="T13" fmla="*/ 1759 h 2174"/>
                <a:gd name="T14" fmla="*/ 157 w 1570"/>
                <a:gd name="T15" fmla="*/ 1797 h 2174"/>
                <a:gd name="T16" fmla="*/ 653 w 1570"/>
                <a:gd name="T17" fmla="*/ 2039 h 2174"/>
                <a:gd name="T18" fmla="*/ 1178 w 1570"/>
                <a:gd name="T19" fmla="*/ 1860 h 2174"/>
                <a:gd name="T20" fmla="*/ 1425 w 1570"/>
                <a:gd name="T21" fmla="*/ 1365 h 2174"/>
                <a:gd name="T22" fmla="*/ 1211 w 1570"/>
                <a:gd name="T23" fmla="*/ 801 h 2174"/>
                <a:gd name="T24" fmla="*/ 436 w 1570"/>
                <a:gd name="T25" fmla="*/ 124 h 2174"/>
                <a:gd name="T26" fmla="*/ 431 w 1570"/>
                <a:gd name="T27" fmla="*/ 29 h 2174"/>
                <a:gd name="T28" fmla="*/ 525 w 1570"/>
                <a:gd name="T29" fmla="*/ 24 h 2174"/>
                <a:gd name="T30" fmla="*/ 1301 w 1570"/>
                <a:gd name="T31" fmla="*/ 703 h 2174"/>
                <a:gd name="T32" fmla="*/ 1308 w 1570"/>
                <a:gd name="T33" fmla="*/ 710 h 2174"/>
                <a:gd name="T34" fmla="*/ 1558 w 1570"/>
                <a:gd name="T35" fmla="*/ 1372 h 2174"/>
                <a:gd name="T36" fmla="*/ 1266 w 1570"/>
                <a:gd name="T37" fmla="*/ 1960 h 2174"/>
                <a:gd name="T38" fmla="*/ 701 w 1570"/>
                <a:gd name="T39" fmla="*/ 2174 h 2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70" h="2174">
                  <a:moveTo>
                    <a:pt x="701" y="2174"/>
                  </a:moveTo>
                  <a:cubicBezTo>
                    <a:pt x="682" y="2174"/>
                    <a:pt x="663" y="2174"/>
                    <a:pt x="644" y="2172"/>
                  </a:cubicBezTo>
                  <a:cubicBezTo>
                    <a:pt x="416" y="2158"/>
                    <a:pt x="206" y="2055"/>
                    <a:pt x="55" y="1883"/>
                  </a:cubicBezTo>
                  <a:lnTo>
                    <a:pt x="52" y="1879"/>
                  </a:lnTo>
                  <a:lnTo>
                    <a:pt x="22" y="1839"/>
                  </a:lnTo>
                  <a:cubicBezTo>
                    <a:pt x="0" y="1809"/>
                    <a:pt x="6" y="1768"/>
                    <a:pt x="35" y="1746"/>
                  </a:cubicBezTo>
                  <a:cubicBezTo>
                    <a:pt x="64" y="1723"/>
                    <a:pt x="107" y="1729"/>
                    <a:pt x="128" y="1759"/>
                  </a:cubicBezTo>
                  <a:lnTo>
                    <a:pt x="157" y="1797"/>
                  </a:lnTo>
                  <a:cubicBezTo>
                    <a:pt x="285" y="1941"/>
                    <a:pt x="461" y="2027"/>
                    <a:pt x="653" y="2039"/>
                  </a:cubicBezTo>
                  <a:cubicBezTo>
                    <a:pt x="846" y="2052"/>
                    <a:pt x="1033" y="1988"/>
                    <a:pt x="1178" y="1860"/>
                  </a:cubicBezTo>
                  <a:cubicBezTo>
                    <a:pt x="1327" y="1729"/>
                    <a:pt x="1415" y="1553"/>
                    <a:pt x="1425" y="1365"/>
                  </a:cubicBezTo>
                  <a:cubicBezTo>
                    <a:pt x="1435" y="1168"/>
                    <a:pt x="1361" y="973"/>
                    <a:pt x="1211" y="801"/>
                  </a:cubicBezTo>
                  <a:cubicBezTo>
                    <a:pt x="1170" y="766"/>
                    <a:pt x="787" y="438"/>
                    <a:pt x="436" y="124"/>
                  </a:cubicBezTo>
                  <a:cubicBezTo>
                    <a:pt x="409" y="99"/>
                    <a:pt x="407" y="57"/>
                    <a:pt x="431" y="29"/>
                  </a:cubicBezTo>
                  <a:cubicBezTo>
                    <a:pt x="456" y="2"/>
                    <a:pt x="498" y="0"/>
                    <a:pt x="525" y="24"/>
                  </a:cubicBezTo>
                  <a:cubicBezTo>
                    <a:pt x="893" y="354"/>
                    <a:pt x="1298" y="699"/>
                    <a:pt x="1301" y="703"/>
                  </a:cubicBezTo>
                  <a:cubicBezTo>
                    <a:pt x="1304" y="705"/>
                    <a:pt x="1306" y="707"/>
                    <a:pt x="1308" y="710"/>
                  </a:cubicBezTo>
                  <a:cubicBezTo>
                    <a:pt x="1484" y="909"/>
                    <a:pt x="1570" y="1138"/>
                    <a:pt x="1558" y="1372"/>
                  </a:cubicBezTo>
                  <a:cubicBezTo>
                    <a:pt x="1546" y="1596"/>
                    <a:pt x="1443" y="1805"/>
                    <a:pt x="1266" y="1960"/>
                  </a:cubicBezTo>
                  <a:cubicBezTo>
                    <a:pt x="1108" y="2099"/>
                    <a:pt x="909" y="2174"/>
                    <a:pt x="701" y="2174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1926">
              <a:extLst>
                <a:ext uri="{FF2B5EF4-FFF2-40B4-BE49-F238E27FC236}">
                  <a16:creationId xmlns:a16="http://schemas.microsoft.com/office/drawing/2014/main" id="{E84262CC-881B-957A-DC43-058D552B4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4563" y="2646363"/>
              <a:ext cx="14288" cy="14288"/>
            </a:xfrm>
            <a:custGeom>
              <a:avLst/>
              <a:gdLst>
                <a:gd name="T0" fmla="*/ 86 w 160"/>
                <a:gd name="T1" fmla="*/ 149 h 149"/>
                <a:gd name="T2" fmla="*/ 42 w 160"/>
                <a:gd name="T3" fmla="*/ 133 h 149"/>
                <a:gd name="T4" fmla="*/ 28 w 160"/>
                <a:gd name="T5" fmla="*/ 122 h 149"/>
                <a:gd name="T6" fmla="*/ 25 w 160"/>
                <a:gd name="T7" fmla="*/ 28 h 149"/>
                <a:gd name="T8" fmla="*/ 117 w 160"/>
                <a:gd name="T9" fmla="*/ 23 h 149"/>
                <a:gd name="T10" fmla="*/ 131 w 160"/>
                <a:gd name="T11" fmla="*/ 34 h 149"/>
                <a:gd name="T12" fmla="*/ 135 w 160"/>
                <a:gd name="T13" fmla="*/ 128 h 149"/>
                <a:gd name="T14" fmla="*/ 86 w 160"/>
                <a:gd name="T15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0" h="149">
                  <a:moveTo>
                    <a:pt x="86" y="149"/>
                  </a:moveTo>
                  <a:cubicBezTo>
                    <a:pt x="70" y="149"/>
                    <a:pt x="55" y="144"/>
                    <a:pt x="42" y="133"/>
                  </a:cubicBezTo>
                  <a:cubicBezTo>
                    <a:pt x="36" y="129"/>
                    <a:pt x="31" y="125"/>
                    <a:pt x="28" y="122"/>
                  </a:cubicBezTo>
                  <a:cubicBezTo>
                    <a:pt x="1" y="97"/>
                    <a:pt x="0" y="55"/>
                    <a:pt x="25" y="28"/>
                  </a:cubicBezTo>
                  <a:cubicBezTo>
                    <a:pt x="50" y="1"/>
                    <a:pt x="90" y="0"/>
                    <a:pt x="117" y="23"/>
                  </a:cubicBezTo>
                  <a:cubicBezTo>
                    <a:pt x="124" y="27"/>
                    <a:pt x="128" y="31"/>
                    <a:pt x="131" y="34"/>
                  </a:cubicBezTo>
                  <a:cubicBezTo>
                    <a:pt x="158" y="59"/>
                    <a:pt x="160" y="101"/>
                    <a:pt x="135" y="128"/>
                  </a:cubicBezTo>
                  <a:cubicBezTo>
                    <a:pt x="121" y="142"/>
                    <a:pt x="104" y="149"/>
                    <a:pt x="86" y="149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4" name="Snowflak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0D66F37-42D0-D935-6776-DC66AB52CE55}"/>
              </a:ext>
            </a:extLst>
          </p:cNvPr>
          <p:cNvSpPr>
            <a:spLocks noChangeAspect="1"/>
          </p:cNvSpPr>
          <p:nvPr/>
        </p:nvSpPr>
        <p:spPr>
          <a:xfrm>
            <a:off x="10487057" y="3429000"/>
            <a:ext cx="934284" cy="1014222"/>
          </a:xfrm>
          <a:custGeom>
            <a:avLst/>
            <a:gdLst>
              <a:gd name="connsiteX0" fmla="*/ 619224 w 1105969"/>
              <a:gd name="connsiteY0" fmla="*/ 0 h 1200597"/>
              <a:gd name="connsiteX1" fmla="*/ 636731 w 1105969"/>
              <a:gd name="connsiteY1" fmla="*/ 26614 h 1200597"/>
              <a:gd name="connsiteX2" fmla="*/ 636671 w 1105969"/>
              <a:gd name="connsiteY2" fmla="*/ 124200 h 1200597"/>
              <a:gd name="connsiteX3" fmla="*/ 638209 w 1105969"/>
              <a:gd name="connsiteY3" fmla="*/ 125087 h 1200597"/>
              <a:gd name="connsiteX4" fmla="*/ 700782 w 1105969"/>
              <a:gd name="connsiteY4" fmla="*/ 88951 h 1200597"/>
              <a:gd name="connsiteX5" fmla="*/ 733606 w 1105969"/>
              <a:gd name="connsiteY5" fmla="*/ 97763 h 1200597"/>
              <a:gd name="connsiteX6" fmla="*/ 787131 w 1105969"/>
              <a:gd name="connsiteY6" fmla="*/ 190558 h 1200597"/>
              <a:gd name="connsiteX7" fmla="*/ 790916 w 1105969"/>
              <a:gd name="connsiteY7" fmla="*/ 192746 h 1200597"/>
              <a:gd name="connsiteX8" fmla="*/ 897491 w 1105969"/>
              <a:gd name="connsiteY8" fmla="*/ 192746 h 1200597"/>
              <a:gd name="connsiteX9" fmla="*/ 922153 w 1105969"/>
              <a:gd name="connsiteY9" fmla="*/ 217349 h 1200597"/>
              <a:gd name="connsiteX10" fmla="*/ 922153 w 1105969"/>
              <a:gd name="connsiteY10" fmla="*/ 288853 h 1200597"/>
              <a:gd name="connsiteX11" fmla="*/ 923750 w 1105969"/>
              <a:gd name="connsiteY11" fmla="*/ 289799 h 1200597"/>
              <a:gd name="connsiteX12" fmla="*/ 1010099 w 1105969"/>
              <a:gd name="connsiteY12" fmla="*/ 239942 h 1200597"/>
              <a:gd name="connsiteX13" fmla="*/ 1042745 w 1105969"/>
              <a:gd name="connsiteY13" fmla="*/ 248813 h 1200597"/>
              <a:gd name="connsiteX14" fmla="*/ 1105969 w 1105969"/>
              <a:gd name="connsiteY14" fmla="*/ 359529 h 1200597"/>
              <a:gd name="connsiteX15" fmla="*/ 1105969 w 1105969"/>
              <a:gd name="connsiteY15" fmla="*/ 374196 h 1200597"/>
              <a:gd name="connsiteX16" fmla="*/ 1006728 w 1105969"/>
              <a:gd name="connsiteY16" fmla="*/ 434817 h 1200597"/>
              <a:gd name="connsiteX17" fmla="*/ 1006487 w 1105969"/>
              <a:gd name="connsiteY17" fmla="*/ 435878 h 1200597"/>
              <a:gd name="connsiteX18" fmla="*/ 1006728 w 1105969"/>
              <a:gd name="connsiteY18" fmla="*/ 436118 h 1200597"/>
              <a:gd name="connsiteX19" fmla="*/ 1069360 w 1105969"/>
              <a:gd name="connsiteY19" fmla="*/ 472255 h 1200597"/>
              <a:gd name="connsiteX20" fmla="*/ 1078290 w 1105969"/>
              <a:gd name="connsiteY20" fmla="*/ 505611 h 1200597"/>
              <a:gd name="connsiteX21" fmla="*/ 1024944 w 1105969"/>
              <a:gd name="connsiteY21" fmla="*/ 597933 h 1200597"/>
              <a:gd name="connsiteX22" fmla="*/ 1024944 w 1105969"/>
              <a:gd name="connsiteY22" fmla="*/ 602605 h 1200597"/>
              <a:gd name="connsiteX23" fmla="*/ 1078290 w 1105969"/>
              <a:gd name="connsiteY23" fmla="*/ 694986 h 1200597"/>
              <a:gd name="connsiteX24" fmla="*/ 1069360 w 1105969"/>
              <a:gd name="connsiteY24" fmla="*/ 728283 h 1200597"/>
              <a:gd name="connsiteX25" fmla="*/ 1006964 w 1105969"/>
              <a:gd name="connsiteY25" fmla="*/ 764301 h 1200597"/>
              <a:gd name="connsiteX26" fmla="*/ 1006614 w 1105969"/>
              <a:gd name="connsiteY26" fmla="*/ 765526 h 1200597"/>
              <a:gd name="connsiteX27" fmla="*/ 1006964 w 1105969"/>
              <a:gd name="connsiteY27" fmla="*/ 765898 h 1200597"/>
              <a:gd name="connsiteX28" fmla="*/ 1105969 w 1105969"/>
              <a:gd name="connsiteY28" fmla="*/ 826579 h 1200597"/>
              <a:gd name="connsiteX29" fmla="*/ 1105969 w 1105969"/>
              <a:gd name="connsiteY29" fmla="*/ 840536 h 1200597"/>
              <a:gd name="connsiteX30" fmla="*/ 1042745 w 1105969"/>
              <a:gd name="connsiteY30" fmla="*/ 951784 h 1200597"/>
              <a:gd name="connsiteX31" fmla="*/ 1010040 w 1105969"/>
              <a:gd name="connsiteY31" fmla="*/ 960596 h 1200597"/>
              <a:gd name="connsiteX32" fmla="*/ 923277 w 1105969"/>
              <a:gd name="connsiteY32" fmla="*/ 910502 h 1200597"/>
              <a:gd name="connsiteX33" fmla="*/ 922035 w 1105969"/>
              <a:gd name="connsiteY33" fmla="*/ 911212 h 1200597"/>
              <a:gd name="connsiteX34" fmla="*/ 922035 w 1105969"/>
              <a:gd name="connsiteY34" fmla="*/ 984549 h 1200597"/>
              <a:gd name="connsiteX35" fmla="*/ 898851 w 1105969"/>
              <a:gd name="connsiteY35" fmla="*/ 1007792 h 1200597"/>
              <a:gd name="connsiteX36" fmla="*/ 790975 w 1105969"/>
              <a:gd name="connsiteY36" fmla="*/ 1007792 h 1200597"/>
              <a:gd name="connsiteX37" fmla="*/ 787131 w 1105969"/>
              <a:gd name="connsiteY37" fmla="*/ 1009980 h 1200597"/>
              <a:gd name="connsiteX38" fmla="*/ 733902 w 1105969"/>
              <a:gd name="connsiteY38" fmla="*/ 1102184 h 1200597"/>
              <a:gd name="connsiteX39" fmla="*/ 700013 w 1105969"/>
              <a:gd name="connsiteY39" fmla="*/ 1111232 h 1200597"/>
              <a:gd name="connsiteX40" fmla="*/ 637973 w 1105969"/>
              <a:gd name="connsiteY40" fmla="*/ 1075392 h 1200597"/>
              <a:gd name="connsiteX41" fmla="*/ 636612 w 1105969"/>
              <a:gd name="connsiteY41" fmla="*/ 1076220 h 1200597"/>
              <a:gd name="connsiteX42" fmla="*/ 636671 w 1105969"/>
              <a:gd name="connsiteY42" fmla="*/ 1178478 h 1200597"/>
              <a:gd name="connsiteX43" fmla="*/ 619934 w 1105969"/>
              <a:gd name="connsiteY43" fmla="*/ 1200597 h 1200597"/>
              <a:gd name="connsiteX44" fmla="*/ 486804 w 1105969"/>
              <a:gd name="connsiteY44" fmla="*/ 1200597 h 1200597"/>
              <a:gd name="connsiteX45" fmla="*/ 469593 w 1105969"/>
              <a:gd name="connsiteY45" fmla="*/ 1176999 h 1200597"/>
              <a:gd name="connsiteX46" fmla="*/ 469179 w 1105969"/>
              <a:gd name="connsiteY46" fmla="*/ 1077994 h 1200597"/>
              <a:gd name="connsiteX47" fmla="*/ 466340 w 1105969"/>
              <a:gd name="connsiteY47" fmla="*/ 1076397 h 1200597"/>
              <a:gd name="connsiteX48" fmla="*/ 405364 w 1105969"/>
              <a:gd name="connsiteY48" fmla="*/ 1111587 h 1200597"/>
              <a:gd name="connsiteX49" fmla="*/ 372599 w 1105969"/>
              <a:gd name="connsiteY49" fmla="*/ 1102775 h 1200597"/>
              <a:gd name="connsiteX50" fmla="*/ 319075 w 1105969"/>
              <a:gd name="connsiteY50" fmla="*/ 1010039 h 1200597"/>
              <a:gd name="connsiteX51" fmla="*/ 315172 w 1105969"/>
              <a:gd name="connsiteY51" fmla="*/ 1007792 h 1200597"/>
              <a:gd name="connsiteX52" fmla="*/ 208537 w 1105969"/>
              <a:gd name="connsiteY52" fmla="*/ 1007792 h 1200597"/>
              <a:gd name="connsiteX53" fmla="*/ 184052 w 1105969"/>
              <a:gd name="connsiteY53" fmla="*/ 983248 h 1200597"/>
              <a:gd name="connsiteX54" fmla="*/ 184052 w 1105969"/>
              <a:gd name="connsiteY54" fmla="*/ 911744 h 1200597"/>
              <a:gd name="connsiteX55" fmla="*/ 182337 w 1105969"/>
              <a:gd name="connsiteY55" fmla="*/ 910739 h 1200597"/>
              <a:gd name="connsiteX56" fmla="*/ 96166 w 1105969"/>
              <a:gd name="connsiteY56" fmla="*/ 960537 h 1200597"/>
              <a:gd name="connsiteX57" fmla="*/ 63401 w 1105969"/>
              <a:gd name="connsiteY57" fmla="*/ 951665 h 1200597"/>
              <a:gd name="connsiteX58" fmla="*/ 0 w 1105969"/>
              <a:gd name="connsiteY58" fmla="*/ 840654 h 1200597"/>
              <a:gd name="connsiteX59" fmla="*/ 0 w 1105969"/>
              <a:gd name="connsiteY59" fmla="*/ 826401 h 1200597"/>
              <a:gd name="connsiteX60" fmla="*/ 99419 w 1105969"/>
              <a:gd name="connsiteY60" fmla="*/ 765780 h 1200597"/>
              <a:gd name="connsiteX61" fmla="*/ 99702 w 1105969"/>
              <a:gd name="connsiteY61" fmla="*/ 764644 h 1200597"/>
              <a:gd name="connsiteX62" fmla="*/ 99419 w 1105969"/>
              <a:gd name="connsiteY62" fmla="*/ 764360 h 1200597"/>
              <a:gd name="connsiteX63" fmla="*/ 36728 w 1105969"/>
              <a:gd name="connsiteY63" fmla="*/ 728165 h 1200597"/>
              <a:gd name="connsiteX64" fmla="*/ 27797 w 1105969"/>
              <a:gd name="connsiteY64" fmla="*/ 695045 h 1200597"/>
              <a:gd name="connsiteX65" fmla="*/ 81380 w 1105969"/>
              <a:gd name="connsiteY65" fmla="*/ 602309 h 1200597"/>
              <a:gd name="connsiteX66" fmla="*/ 81380 w 1105969"/>
              <a:gd name="connsiteY66" fmla="*/ 598110 h 1200597"/>
              <a:gd name="connsiteX67" fmla="*/ 27915 w 1105969"/>
              <a:gd name="connsiteY67" fmla="*/ 505493 h 1200597"/>
              <a:gd name="connsiteX68" fmla="*/ 36787 w 1105969"/>
              <a:gd name="connsiteY68" fmla="*/ 472255 h 1200597"/>
              <a:gd name="connsiteX69" fmla="*/ 99123 w 1105969"/>
              <a:gd name="connsiteY69" fmla="*/ 436237 h 1200597"/>
              <a:gd name="connsiteX70" fmla="*/ 99485 w 1105969"/>
              <a:gd name="connsiteY70" fmla="*/ 434886 h 1200597"/>
              <a:gd name="connsiteX71" fmla="*/ 99182 w 1105969"/>
              <a:gd name="connsiteY71" fmla="*/ 434581 h 1200597"/>
              <a:gd name="connsiteX72" fmla="*/ 0 w 1105969"/>
              <a:gd name="connsiteY72" fmla="*/ 374314 h 1200597"/>
              <a:gd name="connsiteX73" fmla="*/ 0 w 1105969"/>
              <a:gd name="connsiteY73" fmla="*/ 360416 h 1200597"/>
              <a:gd name="connsiteX74" fmla="*/ 65589 w 1105969"/>
              <a:gd name="connsiteY74" fmla="*/ 245738 h 1200597"/>
              <a:gd name="connsiteX75" fmla="*/ 93287 w 1105969"/>
              <a:gd name="connsiteY75" fmla="*/ 238263 h 1200597"/>
              <a:gd name="connsiteX76" fmla="*/ 93327 w 1105969"/>
              <a:gd name="connsiteY76" fmla="*/ 238286 h 1200597"/>
              <a:gd name="connsiteX77" fmla="*/ 181272 w 1105969"/>
              <a:gd name="connsiteY77" fmla="*/ 289090 h 1200597"/>
              <a:gd name="connsiteX78" fmla="*/ 183697 w 1105969"/>
              <a:gd name="connsiteY78" fmla="*/ 287670 h 1200597"/>
              <a:gd name="connsiteX79" fmla="*/ 184170 w 1105969"/>
              <a:gd name="connsiteY79" fmla="*/ 220543 h 1200597"/>
              <a:gd name="connsiteX80" fmla="*/ 209957 w 1105969"/>
              <a:gd name="connsiteY80" fmla="*/ 192450 h 1200597"/>
              <a:gd name="connsiteX81" fmla="*/ 315172 w 1105969"/>
              <a:gd name="connsiteY81" fmla="*/ 192864 h 1200597"/>
              <a:gd name="connsiteX82" fmla="*/ 318957 w 1105969"/>
              <a:gd name="connsiteY82" fmla="*/ 190735 h 1200597"/>
              <a:gd name="connsiteX83" fmla="*/ 374196 w 1105969"/>
              <a:gd name="connsiteY83" fmla="*/ 95042 h 1200597"/>
              <a:gd name="connsiteX84" fmla="*/ 402783 w 1105969"/>
              <a:gd name="connsiteY84" fmla="*/ 87332 h 1200597"/>
              <a:gd name="connsiteX85" fmla="*/ 402821 w 1105969"/>
              <a:gd name="connsiteY85" fmla="*/ 87354 h 1200597"/>
              <a:gd name="connsiteX86" fmla="*/ 466991 w 1105969"/>
              <a:gd name="connsiteY86" fmla="*/ 124436 h 1200597"/>
              <a:gd name="connsiteX87" fmla="*/ 469534 w 1105969"/>
              <a:gd name="connsiteY87" fmla="*/ 122958 h 1200597"/>
              <a:gd name="connsiteX88" fmla="*/ 469712 w 1105969"/>
              <a:gd name="connsiteY88" fmla="*/ 37319 h 1200597"/>
              <a:gd name="connsiteX89" fmla="*/ 486035 w 1105969"/>
              <a:gd name="connsiteY89" fmla="*/ 0 h 1200597"/>
              <a:gd name="connsiteX90" fmla="*/ 619224 w 1105969"/>
              <a:gd name="connsiteY90" fmla="*/ 0 h 1200597"/>
              <a:gd name="connsiteX91" fmla="*/ 448243 w 1105969"/>
              <a:gd name="connsiteY91" fmla="*/ 600239 h 1200597"/>
              <a:gd name="connsiteX92" fmla="*/ 440436 w 1105969"/>
              <a:gd name="connsiteY92" fmla="*/ 616385 h 1200597"/>
              <a:gd name="connsiteX93" fmla="*/ 260051 w 1105969"/>
              <a:gd name="connsiteY93" fmla="*/ 721245 h 1200597"/>
              <a:gd name="connsiteX94" fmla="*/ 237162 w 1105969"/>
              <a:gd name="connsiteY94" fmla="*/ 721186 h 1200597"/>
              <a:gd name="connsiteX95" fmla="*/ 107817 w 1105969"/>
              <a:gd name="connsiteY95" fmla="*/ 646489 h 1200597"/>
              <a:gd name="connsiteX96" fmla="*/ 103618 w 1105969"/>
              <a:gd name="connsiteY96" fmla="*/ 647613 h 1200597"/>
              <a:gd name="connsiteX97" fmla="*/ 74520 w 1105969"/>
              <a:gd name="connsiteY97" fmla="*/ 698475 h 1200597"/>
              <a:gd name="connsiteX98" fmla="*/ 76025 w 1105969"/>
              <a:gd name="connsiteY98" fmla="*/ 703307 h 1200597"/>
              <a:gd name="connsiteX99" fmla="*/ 76058 w 1105969"/>
              <a:gd name="connsiteY99" fmla="*/ 703325 h 1200597"/>
              <a:gd name="connsiteX100" fmla="*/ 151997 w 1105969"/>
              <a:gd name="connsiteY100" fmla="*/ 746440 h 1200597"/>
              <a:gd name="connsiteX101" fmla="*/ 149335 w 1105969"/>
              <a:gd name="connsiteY101" fmla="*/ 785297 h 1200597"/>
              <a:gd name="connsiteX102" fmla="*/ 51513 w 1105969"/>
              <a:gd name="connsiteY102" fmla="*/ 841778 h 1200597"/>
              <a:gd name="connsiteX103" fmla="*/ 50365 w 1105969"/>
              <a:gd name="connsiteY103" fmla="*/ 845757 h 1200597"/>
              <a:gd name="connsiteX104" fmla="*/ 50390 w 1105969"/>
              <a:gd name="connsiteY104" fmla="*/ 845800 h 1200597"/>
              <a:gd name="connsiteX105" fmla="*/ 90370 w 1105969"/>
              <a:gd name="connsiteY105" fmla="*/ 914997 h 1200597"/>
              <a:gd name="connsiteX106" fmla="*/ 93273 w 1105969"/>
              <a:gd name="connsiteY106" fmla="*/ 915798 h 1200597"/>
              <a:gd name="connsiteX107" fmla="*/ 93327 w 1105969"/>
              <a:gd name="connsiteY107" fmla="*/ 915766 h 1200597"/>
              <a:gd name="connsiteX108" fmla="*/ 192805 w 1105969"/>
              <a:gd name="connsiteY108" fmla="*/ 858102 h 1200597"/>
              <a:gd name="connsiteX109" fmla="*/ 225984 w 1105969"/>
              <a:gd name="connsiteY109" fmla="*/ 882409 h 1200597"/>
              <a:gd name="connsiteX110" fmla="*/ 225925 w 1105969"/>
              <a:gd name="connsiteY110" fmla="*/ 964795 h 1200597"/>
              <a:gd name="connsiteX111" fmla="*/ 228173 w 1105969"/>
              <a:gd name="connsiteY111" fmla="*/ 967043 h 1200597"/>
              <a:gd name="connsiteX112" fmla="*/ 286961 w 1105969"/>
              <a:gd name="connsiteY112" fmla="*/ 967042 h 1200597"/>
              <a:gd name="connsiteX113" fmla="*/ 290332 w 1105969"/>
              <a:gd name="connsiteY113" fmla="*/ 963730 h 1200597"/>
              <a:gd name="connsiteX114" fmla="*/ 289799 w 1105969"/>
              <a:gd name="connsiteY114" fmla="*/ 819245 h 1200597"/>
              <a:gd name="connsiteX115" fmla="*/ 306300 w 1105969"/>
              <a:gd name="connsiteY115" fmla="*/ 791566 h 1200597"/>
              <a:gd name="connsiteX116" fmla="*/ 479943 w 1105969"/>
              <a:gd name="connsiteY116" fmla="*/ 691792 h 1200597"/>
              <a:gd name="connsiteX117" fmla="*/ 508288 w 1105969"/>
              <a:gd name="connsiteY117" fmla="*/ 699437 h 1200597"/>
              <a:gd name="connsiteX118" fmla="*/ 511052 w 1105969"/>
              <a:gd name="connsiteY118" fmla="*/ 709831 h 1200597"/>
              <a:gd name="connsiteX119" fmla="*/ 511052 w 1105969"/>
              <a:gd name="connsiteY119" fmla="*/ 915352 h 1200597"/>
              <a:gd name="connsiteX120" fmla="*/ 499756 w 1105969"/>
              <a:gd name="connsiteY120" fmla="*/ 934987 h 1200597"/>
              <a:gd name="connsiteX121" fmla="*/ 368637 w 1105969"/>
              <a:gd name="connsiteY121" fmla="*/ 1010690 h 1200597"/>
              <a:gd name="connsiteX122" fmla="*/ 368045 w 1105969"/>
              <a:gd name="connsiteY122" fmla="*/ 1012878 h 1200597"/>
              <a:gd name="connsiteX123" fmla="*/ 398681 w 1105969"/>
              <a:gd name="connsiteY123" fmla="*/ 1065929 h 1200597"/>
              <a:gd name="connsiteX124" fmla="*/ 401993 w 1105969"/>
              <a:gd name="connsiteY124" fmla="*/ 1066816 h 1200597"/>
              <a:gd name="connsiteX125" fmla="*/ 480239 w 1105969"/>
              <a:gd name="connsiteY125" fmla="*/ 1021631 h 1200597"/>
              <a:gd name="connsiteX126" fmla="*/ 508286 w 1105969"/>
              <a:gd name="connsiteY126" fmla="*/ 1029096 h 1200597"/>
              <a:gd name="connsiteX127" fmla="*/ 511052 w 1105969"/>
              <a:gd name="connsiteY127" fmla="*/ 1039433 h 1200597"/>
              <a:gd name="connsiteX128" fmla="*/ 511052 w 1105969"/>
              <a:gd name="connsiteY128" fmla="*/ 1156003 h 1200597"/>
              <a:gd name="connsiteX129" fmla="*/ 514187 w 1105969"/>
              <a:gd name="connsiteY129" fmla="*/ 1159138 h 1200597"/>
              <a:gd name="connsiteX130" fmla="*/ 593261 w 1105969"/>
              <a:gd name="connsiteY130" fmla="*/ 1159138 h 1200597"/>
              <a:gd name="connsiteX131" fmla="*/ 594976 w 1105969"/>
              <a:gd name="connsiteY131" fmla="*/ 1157423 h 1200597"/>
              <a:gd name="connsiteX132" fmla="*/ 594976 w 1105969"/>
              <a:gd name="connsiteY132" fmla="*/ 1039965 h 1200597"/>
              <a:gd name="connsiteX133" fmla="*/ 615853 w 1105969"/>
              <a:gd name="connsiteY133" fmla="*/ 1019088 h 1200597"/>
              <a:gd name="connsiteX134" fmla="*/ 626262 w 1105969"/>
              <a:gd name="connsiteY134" fmla="*/ 1021868 h 1200597"/>
              <a:gd name="connsiteX135" fmla="*/ 703089 w 1105969"/>
              <a:gd name="connsiteY135" fmla="*/ 1066284 h 1200597"/>
              <a:gd name="connsiteX136" fmla="*/ 707879 w 1105969"/>
              <a:gd name="connsiteY136" fmla="*/ 1064983 h 1200597"/>
              <a:gd name="connsiteX137" fmla="*/ 737273 w 1105969"/>
              <a:gd name="connsiteY137" fmla="*/ 1014002 h 1200597"/>
              <a:gd name="connsiteX138" fmla="*/ 736209 w 1105969"/>
              <a:gd name="connsiteY138" fmla="*/ 1010039 h 1200597"/>
              <a:gd name="connsiteX139" fmla="*/ 606036 w 1105969"/>
              <a:gd name="connsiteY139" fmla="*/ 934869 h 1200597"/>
              <a:gd name="connsiteX140" fmla="*/ 595094 w 1105969"/>
              <a:gd name="connsiteY140" fmla="*/ 915943 h 1200597"/>
              <a:gd name="connsiteX141" fmla="*/ 594798 w 1105969"/>
              <a:gd name="connsiteY141" fmla="*/ 713084 h 1200597"/>
              <a:gd name="connsiteX142" fmla="*/ 625257 w 1105969"/>
              <a:gd name="connsiteY142" fmla="*/ 691378 h 1200597"/>
              <a:gd name="connsiteX143" fmla="*/ 805169 w 1105969"/>
              <a:gd name="connsiteY143" fmla="*/ 794701 h 1200597"/>
              <a:gd name="connsiteX144" fmla="*/ 815519 w 1105969"/>
              <a:gd name="connsiteY144" fmla="*/ 812503 h 1200597"/>
              <a:gd name="connsiteX145" fmla="*/ 815519 w 1105969"/>
              <a:gd name="connsiteY145" fmla="*/ 963139 h 1200597"/>
              <a:gd name="connsiteX146" fmla="*/ 819423 w 1105969"/>
              <a:gd name="connsiteY146" fmla="*/ 967042 h 1200597"/>
              <a:gd name="connsiteX147" fmla="*/ 876791 w 1105969"/>
              <a:gd name="connsiteY147" fmla="*/ 967042 h 1200597"/>
              <a:gd name="connsiteX148" fmla="*/ 879866 w 1105969"/>
              <a:gd name="connsiteY148" fmla="*/ 963967 h 1200597"/>
              <a:gd name="connsiteX149" fmla="*/ 880103 w 1105969"/>
              <a:gd name="connsiteY149" fmla="*/ 883474 h 1200597"/>
              <a:gd name="connsiteX150" fmla="*/ 885308 w 1105969"/>
              <a:gd name="connsiteY150" fmla="*/ 860763 h 1200597"/>
              <a:gd name="connsiteX151" fmla="*/ 913282 w 1105969"/>
              <a:gd name="connsiteY151" fmla="*/ 857924 h 1200597"/>
              <a:gd name="connsiteX152" fmla="*/ 1012050 w 1105969"/>
              <a:gd name="connsiteY152" fmla="*/ 915174 h 1200597"/>
              <a:gd name="connsiteX153" fmla="*/ 1016368 w 1105969"/>
              <a:gd name="connsiteY153" fmla="*/ 913991 h 1200597"/>
              <a:gd name="connsiteX154" fmla="*/ 1055875 w 1105969"/>
              <a:gd name="connsiteY154" fmla="*/ 845622 h 1200597"/>
              <a:gd name="connsiteX155" fmla="*/ 1054811 w 1105969"/>
              <a:gd name="connsiteY155" fmla="*/ 841896 h 1200597"/>
              <a:gd name="connsiteX156" fmla="*/ 955451 w 1105969"/>
              <a:gd name="connsiteY156" fmla="*/ 784410 h 1200597"/>
              <a:gd name="connsiteX157" fmla="*/ 952198 w 1105969"/>
              <a:gd name="connsiteY157" fmla="*/ 748333 h 1200597"/>
              <a:gd name="connsiteX158" fmla="*/ 1030207 w 1105969"/>
              <a:gd name="connsiteY158" fmla="*/ 702970 h 1200597"/>
              <a:gd name="connsiteX159" fmla="*/ 1031548 w 1105969"/>
              <a:gd name="connsiteY159" fmla="*/ 698308 h 1200597"/>
              <a:gd name="connsiteX160" fmla="*/ 1031508 w 1105969"/>
              <a:gd name="connsiteY160" fmla="*/ 698239 h 1200597"/>
              <a:gd name="connsiteX161" fmla="*/ 1002292 w 1105969"/>
              <a:gd name="connsiteY161" fmla="*/ 647613 h 1200597"/>
              <a:gd name="connsiteX162" fmla="*/ 998211 w 1105969"/>
              <a:gd name="connsiteY162" fmla="*/ 646489 h 1200597"/>
              <a:gd name="connsiteX163" fmla="*/ 868807 w 1105969"/>
              <a:gd name="connsiteY163" fmla="*/ 721186 h 1200597"/>
              <a:gd name="connsiteX164" fmla="*/ 845800 w 1105969"/>
              <a:gd name="connsiteY164" fmla="*/ 721186 h 1200597"/>
              <a:gd name="connsiteX165" fmla="*/ 671980 w 1105969"/>
              <a:gd name="connsiteY165" fmla="*/ 620348 h 1200597"/>
              <a:gd name="connsiteX166" fmla="*/ 658081 w 1105969"/>
              <a:gd name="connsiteY166" fmla="*/ 600239 h 1200597"/>
              <a:gd name="connsiteX167" fmla="*/ 671980 w 1105969"/>
              <a:gd name="connsiteY167" fmla="*/ 580131 h 1200597"/>
              <a:gd name="connsiteX168" fmla="*/ 845800 w 1105969"/>
              <a:gd name="connsiteY168" fmla="*/ 479233 h 1200597"/>
              <a:gd name="connsiteX169" fmla="*/ 868807 w 1105969"/>
              <a:gd name="connsiteY169" fmla="*/ 479233 h 1200597"/>
              <a:gd name="connsiteX170" fmla="*/ 998211 w 1105969"/>
              <a:gd name="connsiteY170" fmla="*/ 553931 h 1200597"/>
              <a:gd name="connsiteX171" fmla="*/ 1002292 w 1105969"/>
              <a:gd name="connsiteY171" fmla="*/ 552807 h 1200597"/>
              <a:gd name="connsiteX172" fmla="*/ 1031508 w 1105969"/>
              <a:gd name="connsiteY172" fmla="*/ 502181 h 1200597"/>
              <a:gd name="connsiteX173" fmla="*/ 1030276 w 1105969"/>
              <a:gd name="connsiteY173" fmla="*/ 497489 h 1200597"/>
              <a:gd name="connsiteX174" fmla="*/ 1030207 w 1105969"/>
              <a:gd name="connsiteY174" fmla="*/ 497449 h 1200597"/>
              <a:gd name="connsiteX175" fmla="*/ 952198 w 1105969"/>
              <a:gd name="connsiteY175" fmla="*/ 452087 h 1200597"/>
              <a:gd name="connsiteX176" fmla="*/ 955451 w 1105969"/>
              <a:gd name="connsiteY176" fmla="*/ 416010 h 1200597"/>
              <a:gd name="connsiteX177" fmla="*/ 1054811 w 1105969"/>
              <a:gd name="connsiteY177" fmla="*/ 358523 h 1200597"/>
              <a:gd name="connsiteX178" fmla="*/ 1055875 w 1105969"/>
              <a:gd name="connsiteY178" fmla="*/ 354797 h 1200597"/>
              <a:gd name="connsiteX179" fmla="*/ 1016368 w 1105969"/>
              <a:gd name="connsiteY179" fmla="*/ 286428 h 1200597"/>
              <a:gd name="connsiteX180" fmla="*/ 1012050 w 1105969"/>
              <a:gd name="connsiteY180" fmla="*/ 285245 h 1200597"/>
              <a:gd name="connsiteX181" fmla="*/ 913282 w 1105969"/>
              <a:gd name="connsiteY181" fmla="*/ 342495 h 1200597"/>
              <a:gd name="connsiteX182" fmla="*/ 885308 w 1105969"/>
              <a:gd name="connsiteY182" fmla="*/ 339657 h 1200597"/>
              <a:gd name="connsiteX183" fmla="*/ 880103 w 1105969"/>
              <a:gd name="connsiteY183" fmla="*/ 316946 h 1200597"/>
              <a:gd name="connsiteX184" fmla="*/ 879866 w 1105969"/>
              <a:gd name="connsiteY184" fmla="*/ 236453 h 1200597"/>
              <a:gd name="connsiteX185" fmla="*/ 876791 w 1105969"/>
              <a:gd name="connsiteY185" fmla="*/ 233377 h 1200597"/>
              <a:gd name="connsiteX186" fmla="*/ 819423 w 1105969"/>
              <a:gd name="connsiteY186" fmla="*/ 233377 h 1200597"/>
              <a:gd name="connsiteX187" fmla="*/ 815519 w 1105969"/>
              <a:gd name="connsiteY187" fmla="*/ 237281 h 1200597"/>
              <a:gd name="connsiteX188" fmla="*/ 815519 w 1105969"/>
              <a:gd name="connsiteY188" fmla="*/ 387917 h 1200597"/>
              <a:gd name="connsiteX189" fmla="*/ 805169 w 1105969"/>
              <a:gd name="connsiteY189" fmla="*/ 405719 h 1200597"/>
              <a:gd name="connsiteX190" fmla="*/ 625257 w 1105969"/>
              <a:gd name="connsiteY190" fmla="*/ 509100 h 1200597"/>
              <a:gd name="connsiteX191" fmla="*/ 594798 w 1105969"/>
              <a:gd name="connsiteY191" fmla="*/ 487395 h 1200597"/>
              <a:gd name="connsiteX192" fmla="*/ 595094 w 1105969"/>
              <a:gd name="connsiteY192" fmla="*/ 284536 h 1200597"/>
              <a:gd name="connsiteX193" fmla="*/ 606036 w 1105969"/>
              <a:gd name="connsiteY193" fmla="*/ 265610 h 1200597"/>
              <a:gd name="connsiteX194" fmla="*/ 736209 w 1105969"/>
              <a:gd name="connsiteY194" fmla="*/ 190380 h 1200597"/>
              <a:gd name="connsiteX195" fmla="*/ 737273 w 1105969"/>
              <a:gd name="connsiteY195" fmla="*/ 186418 h 1200597"/>
              <a:gd name="connsiteX196" fmla="*/ 707879 w 1105969"/>
              <a:gd name="connsiteY196" fmla="*/ 135496 h 1200597"/>
              <a:gd name="connsiteX197" fmla="*/ 703089 w 1105969"/>
              <a:gd name="connsiteY197" fmla="*/ 134195 h 1200597"/>
              <a:gd name="connsiteX198" fmla="*/ 626262 w 1105969"/>
              <a:gd name="connsiteY198" fmla="*/ 178611 h 1200597"/>
              <a:gd name="connsiteX199" fmla="*/ 597756 w 1105969"/>
              <a:gd name="connsiteY199" fmla="*/ 170923 h 1200597"/>
              <a:gd name="connsiteX200" fmla="*/ 594976 w 1105969"/>
              <a:gd name="connsiteY200" fmla="*/ 160513 h 1200597"/>
              <a:gd name="connsiteX201" fmla="*/ 594976 w 1105969"/>
              <a:gd name="connsiteY201" fmla="*/ 43056 h 1200597"/>
              <a:gd name="connsiteX202" fmla="*/ 593261 w 1105969"/>
              <a:gd name="connsiteY202" fmla="*/ 41341 h 1200597"/>
              <a:gd name="connsiteX203" fmla="*/ 514187 w 1105969"/>
              <a:gd name="connsiteY203" fmla="*/ 41341 h 1200597"/>
              <a:gd name="connsiteX204" fmla="*/ 511052 w 1105969"/>
              <a:gd name="connsiteY204" fmla="*/ 44475 h 1200597"/>
              <a:gd name="connsiteX205" fmla="*/ 511052 w 1105969"/>
              <a:gd name="connsiteY205" fmla="*/ 161046 h 1200597"/>
              <a:gd name="connsiteX206" fmla="*/ 490576 w 1105969"/>
              <a:gd name="connsiteY206" fmla="*/ 181614 h 1200597"/>
              <a:gd name="connsiteX207" fmla="*/ 480239 w 1105969"/>
              <a:gd name="connsiteY207" fmla="*/ 178848 h 1200597"/>
              <a:gd name="connsiteX208" fmla="*/ 401993 w 1105969"/>
              <a:gd name="connsiteY208" fmla="*/ 133663 h 1200597"/>
              <a:gd name="connsiteX209" fmla="*/ 398681 w 1105969"/>
              <a:gd name="connsiteY209" fmla="*/ 134550 h 1200597"/>
              <a:gd name="connsiteX210" fmla="*/ 368045 w 1105969"/>
              <a:gd name="connsiteY210" fmla="*/ 187601 h 1200597"/>
              <a:gd name="connsiteX211" fmla="*/ 368637 w 1105969"/>
              <a:gd name="connsiteY211" fmla="*/ 189789 h 1200597"/>
              <a:gd name="connsiteX212" fmla="*/ 499756 w 1105969"/>
              <a:gd name="connsiteY212" fmla="*/ 265492 h 1200597"/>
              <a:gd name="connsiteX213" fmla="*/ 511052 w 1105969"/>
              <a:gd name="connsiteY213" fmla="*/ 285127 h 1200597"/>
              <a:gd name="connsiteX214" fmla="*/ 511052 w 1105969"/>
              <a:gd name="connsiteY214" fmla="*/ 490648 h 1200597"/>
              <a:gd name="connsiteX215" fmla="*/ 490337 w 1105969"/>
              <a:gd name="connsiteY215" fmla="*/ 511451 h 1200597"/>
              <a:gd name="connsiteX216" fmla="*/ 479943 w 1105969"/>
              <a:gd name="connsiteY216" fmla="*/ 508686 h 1200597"/>
              <a:gd name="connsiteX217" fmla="*/ 306300 w 1105969"/>
              <a:gd name="connsiteY217" fmla="*/ 408913 h 1200597"/>
              <a:gd name="connsiteX218" fmla="*/ 289799 w 1105969"/>
              <a:gd name="connsiteY218" fmla="*/ 381234 h 1200597"/>
              <a:gd name="connsiteX219" fmla="*/ 290332 w 1105969"/>
              <a:gd name="connsiteY219" fmla="*/ 236748 h 1200597"/>
              <a:gd name="connsiteX220" fmla="*/ 286961 w 1105969"/>
              <a:gd name="connsiteY220" fmla="*/ 233436 h 1200597"/>
              <a:gd name="connsiteX221" fmla="*/ 228173 w 1105969"/>
              <a:gd name="connsiteY221" fmla="*/ 233436 h 1200597"/>
              <a:gd name="connsiteX222" fmla="*/ 225925 w 1105969"/>
              <a:gd name="connsiteY222" fmla="*/ 235684 h 1200597"/>
              <a:gd name="connsiteX223" fmla="*/ 225984 w 1105969"/>
              <a:gd name="connsiteY223" fmla="*/ 318069 h 1200597"/>
              <a:gd name="connsiteX224" fmla="*/ 192805 w 1105969"/>
              <a:gd name="connsiteY224" fmla="*/ 342377 h 1200597"/>
              <a:gd name="connsiteX225" fmla="*/ 93327 w 1105969"/>
              <a:gd name="connsiteY225" fmla="*/ 284713 h 1200597"/>
              <a:gd name="connsiteX226" fmla="*/ 90402 w 1105969"/>
              <a:gd name="connsiteY226" fmla="*/ 285427 h 1200597"/>
              <a:gd name="connsiteX227" fmla="*/ 90370 w 1105969"/>
              <a:gd name="connsiteY227" fmla="*/ 285482 h 1200597"/>
              <a:gd name="connsiteX228" fmla="*/ 50390 w 1105969"/>
              <a:gd name="connsiteY228" fmla="*/ 354679 h 1200597"/>
              <a:gd name="connsiteX229" fmla="*/ 51469 w 1105969"/>
              <a:gd name="connsiteY229" fmla="*/ 358675 h 1200597"/>
              <a:gd name="connsiteX230" fmla="*/ 51513 w 1105969"/>
              <a:gd name="connsiteY230" fmla="*/ 358701 h 1200597"/>
              <a:gd name="connsiteX231" fmla="*/ 149335 w 1105969"/>
              <a:gd name="connsiteY231" fmla="*/ 415182 h 1200597"/>
              <a:gd name="connsiteX232" fmla="*/ 151997 w 1105969"/>
              <a:gd name="connsiteY232" fmla="*/ 454039 h 1200597"/>
              <a:gd name="connsiteX233" fmla="*/ 76058 w 1105969"/>
              <a:gd name="connsiteY233" fmla="*/ 497154 h 1200597"/>
              <a:gd name="connsiteX234" fmla="*/ 74503 w 1105969"/>
              <a:gd name="connsiteY234" fmla="*/ 501974 h 1200597"/>
              <a:gd name="connsiteX235" fmla="*/ 74520 w 1105969"/>
              <a:gd name="connsiteY235" fmla="*/ 502003 h 1200597"/>
              <a:gd name="connsiteX236" fmla="*/ 103618 w 1105969"/>
              <a:gd name="connsiteY236" fmla="*/ 552866 h 1200597"/>
              <a:gd name="connsiteX237" fmla="*/ 107817 w 1105969"/>
              <a:gd name="connsiteY237" fmla="*/ 553990 h 1200597"/>
              <a:gd name="connsiteX238" fmla="*/ 237162 w 1105969"/>
              <a:gd name="connsiteY238" fmla="*/ 479293 h 1200597"/>
              <a:gd name="connsiteX239" fmla="*/ 260051 w 1105969"/>
              <a:gd name="connsiteY239" fmla="*/ 479233 h 1200597"/>
              <a:gd name="connsiteX240" fmla="*/ 440436 w 1105969"/>
              <a:gd name="connsiteY240" fmla="*/ 584093 h 1200597"/>
              <a:gd name="connsiteX241" fmla="*/ 448243 w 1105969"/>
              <a:gd name="connsiteY241" fmla="*/ 600239 h 1200597"/>
              <a:gd name="connsiteX242" fmla="*/ 469712 w 1105969"/>
              <a:gd name="connsiteY242" fmla="*/ 297192 h 1200597"/>
              <a:gd name="connsiteX243" fmla="*/ 468765 w 1105969"/>
              <a:gd name="connsiteY243" fmla="*/ 295595 h 1200597"/>
              <a:gd name="connsiteX244" fmla="*/ 334689 w 1105969"/>
              <a:gd name="connsiteY244" fmla="*/ 218177 h 1200597"/>
              <a:gd name="connsiteX245" fmla="*/ 332103 w 1105969"/>
              <a:gd name="connsiteY245" fmla="*/ 218869 h 1200597"/>
              <a:gd name="connsiteX246" fmla="*/ 331850 w 1105969"/>
              <a:gd name="connsiteY246" fmla="*/ 219774 h 1200597"/>
              <a:gd name="connsiteX247" fmla="*/ 331850 w 1105969"/>
              <a:gd name="connsiteY247" fmla="*/ 374787 h 1200597"/>
              <a:gd name="connsiteX248" fmla="*/ 332796 w 1105969"/>
              <a:gd name="connsiteY248" fmla="*/ 376384 h 1200597"/>
              <a:gd name="connsiteX249" fmla="*/ 466873 w 1105969"/>
              <a:gd name="connsiteY249" fmla="*/ 453802 h 1200597"/>
              <a:gd name="connsiteX250" fmla="*/ 469458 w 1105969"/>
              <a:gd name="connsiteY250" fmla="*/ 453110 h 1200597"/>
              <a:gd name="connsiteX251" fmla="*/ 469712 w 1105969"/>
              <a:gd name="connsiteY251" fmla="*/ 452205 h 1200597"/>
              <a:gd name="connsiteX252" fmla="*/ 469712 w 1105969"/>
              <a:gd name="connsiteY252" fmla="*/ 297192 h 1200597"/>
              <a:gd name="connsiteX253" fmla="*/ 774119 w 1105969"/>
              <a:gd name="connsiteY253" fmla="*/ 219715 h 1200597"/>
              <a:gd name="connsiteX254" fmla="*/ 772185 w 1105969"/>
              <a:gd name="connsiteY254" fmla="*/ 217865 h 1200597"/>
              <a:gd name="connsiteX255" fmla="*/ 771280 w 1105969"/>
              <a:gd name="connsiteY255" fmla="*/ 218118 h 1200597"/>
              <a:gd name="connsiteX256" fmla="*/ 637204 w 1105969"/>
              <a:gd name="connsiteY256" fmla="*/ 295536 h 1200597"/>
              <a:gd name="connsiteX257" fmla="*/ 636257 w 1105969"/>
              <a:gd name="connsiteY257" fmla="*/ 297133 h 1200597"/>
              <a:gd name="connsiteX258" fmla="*/ 636258 w 1105969"/>
              <a:gd name="connsiteY258" fmla="*/ 452146 h 1200597"/>
              <a:gd name="connsiteX259" fmla="*/ 638191 w 1105969"/>
              <a:gd name="connsiteY259" fmla="*/ 453996 h 1200597"/>
              <a:gd name="connsiteX260" fmla="*/ 639096 w 1105969"/>
              <a:gd name="connsiteY260" fmla="*/ 453743 h 1200597"/>
              <a:gd name="connsiteX261" fmla="*/ 773173 w 1105969"/>
              <a:gd name="connsiteY261" fmla="*/ 376325 h 1200597"/>
              <a:gd name="connsiteX262" fmla="*/ 774119 w 1105969"/>
              <a:gd name="connsiteY262" fmla="*/ 374728 h 1200597"/>
              <a:gd name="connsiteX263" fmla="*/ 774119 w 1105969"/>
              <a:gd name="connsiteY263" fmla="*/ 219715 h 1200597"/>
              <a:gd name="connsiteX264" fmla="*/ 249878 w 1105969"/>
              <a:gd name="connsiteY264" fmla="*/ 521225 h 1200597"/>
              <a:gd name="connsiteX265" fmla="*/ 247867 w 1105969"/>
              <a:gd name="connsiteY265" fmla="*/ 521225 h 1200597"/>
              <a:gd name="connsiteX266" fmla="*/ 113968 w 1105969"/>
              <a:gd name="connsiteY266" fmla="*/ 598524 h 1200597"/>
              <a:gd name="connsiteX267" fmla="*/ 113260 w 1105969"/>
              <a:gd name="connsiteY267" fmla="*/ 601365 h 1200597"/>
              <a:gd name="connsiteX268" fmla="*/ 113968 w 1105969"/>
              <a:gd name="connsiteY268" fmla="*/ 602073 h 1200597"/>
              <a:gd name="connsiteX269" fmla="*/ 247867 w 1105969"/>
              <a:gd name="connsiteY269" fmla="*/ 679372 h 1200597"/>
              <a:gd name="connsiteX270" fmla="*/ 249878 w 1105969"/>
              <a:gd name="connsiteY270" fmla="*/ 679372 h 1200597"/>
              <a:gd name="connsiteX271" fmla="*/ 383777 w 1105969"/>
              <a:gd name="connsiteY271" fmla="*/ 602073 h 1200597"/>
              <a:gd name="connsiteX272" fmla="*/ 384485 w 1105969"/>
              <a:gd name="connsiteY272" fmla="*/ 599232 h 1200597"/>
              <a:gd name="connsiteX273" fmla="*/ 383777 w 1105969"/>
              <a:gd name="connsiteY273" fmla="*/ 598524 h 1200597"/>
              <a:gd name="connsiteX274" fmla="*/ 249878 w 1105969"/>
              <a:gd name="connsiteY274" fmla="*/ 521225 h 1200597"/>
              <a:gd name="connsiteX275" fmla="*/ 858516 w 1105969"/>
              <a:gd name="connsiteY275" fmla="*/ 521106 h 1200597"/>
              <a:gd name="connsiteX276" fmla="*/ 856742 w 1105969"/>
              <a:gd name="connsiteY276" fmla="*/ 521106 h 1200597"/>
              <a:gd name="connsiteX277" fmla="*/ 722251 w 1105969"/>
              <a:gd name="connsiteY277" fmla="*/ 598761 h 1200597"/>
              <a:gd name="connsiteX278" fmla="*/ 721598 w 1105969"/>
              <a:gd name="connsiteY278" fmla="*/ 601184 h 1200597"/>
              <a:gd name="connsiteX279" fmla="*/ 722251 w 1105969"/>
              <a:gd name="connsiteY279" fmla="*/ 601836 h 1200597"/>
              <a:gd name="connsiteX280" fmla="*/ 856564 w 1105969"/>
              <a:gd name="connsiteY280" fmla="*/ 679372 h 1200597"/>
              <a:gd name="connsiteX281" fmla="*/ 858338 w 1105969"/>
              <a:gd name="connsiteY281" fmla="*/ 679372 h 1200597"/>
              <a:gd name="connsiteX282" fmla="*/ 992829 w 1105969"/>
              <a:gd name="connsiteY282" fmla="*/ 601718 h 1200597"/>
              <a:gd name="connsiteX283" fmla="*/ 993482 w 1105969"/>
              <a:gd name="connsiteY283" fmla="*/ 599295 h 1200597"/>
              <a:gd name="connsiteX284" fmla="*/ 992829 w 1105969"/>
              <a:gd name="connsiteY284" fmla="*/ 598642 h 1200597"/>
              <a:gd name="connsiteX285" fmla="*/ 858516 w 1105969"/>
              <a:gd name="connsiteY285" fmla="*/ 521106 h 1200597"/>
              <a:gd name="connsiteX286" fmla="*/ 469771 w 1105969"/>
              <a:gd name="connsiteY286" fmla="*/ 748451 h 1200597"/>
              <a:gd name="connsiteX287" fmla="*/ 467837 w 1105969"/>
              <a:gd name="connsiteY287" fmla="*/ 746601 h 1200597"/>
              <a:gd name="connsiteX288" fmla="*/ 466932 w 1105969"/>
              <a:gd name="connsiteY288" fmla="*/ 746854 h 1200597"/>
              <a:gd name="connsiteX289" fmla="*/ 332796 w 1105969"/>
              <a:gd name="connsiteY289" fmla="*/ 824272 h 1200597"/>
              <a:gd name="connsiteX290" fmla="*/ 331850 w 1105969"/>
              <a:gd name="connsiteY290" fmla="*/ 825869 h 1200597"/>
              <a:gd name="connsiteX291" fmla="*/ 331850 w 1105969"/>
              <a:gd name="connsiteY291" fmla="*/ 980823 h 1200597"/>
              <a:gd name="connsiteX292" fmla="*/ 333784 w 1105969"/>
              <a:gd name="connsiteY292" fmla="*/ 982673 h 1200597"/>
              <a:gd name="connsiteX293" fmla="*/ 334689 w 1105969"/>
              <a:gd name="connsiteY293" fmla="*/ 982420 h 1200597"/>
              <a:gd name="connsiteX294" fmla="*/ 468824 w 1105969"/>
              <a:gd name="connsiteY294" fmla="*/ 905002 h 1200597"/>
              <a:gd name="connsiteX295" fmla="*/ 469771 w 1105969"/>
              <a:gd name="connsiteY295" fmla="*/ 903405 h 1200597"/>
              <a:gd name="connsiteX296" fmla="*/ 469771 w 1105969"/>
              <a:gd name="connsiteY296" fmla="*/ 748451 h 1200597"/>
              <a:gd name="connsiteX297" fmla="*/ 636198 w 1105969"/>
              <a:gd name="connsiteY297" fmla="*/ 903346 h 1200597"/>
              <a:gd name="connsiteX298" fmla="*/ 637204 w 1105969"/>
              <a:gd name="connsiteY298" fmla="*/ 905061 h 1200597"/>
              <a:gd name="connsiteX299" fmla="*/ 771221 w 1105969"/>
              <a:gd name="connsiteY299" fmla="*/ 982360 h 1200597"/>
              <a:gd name="connsiteX300" fmla="*/ 773875 w 1105969"/>
              <a:gd name="connsiteY300" fmla="*/ 981601 h 1200597"/>
              <a:gd name="connsiteX301" fmla="*/ 774119 w 1105969"/>
              <a:gd name="connsiteY301" fmla="*/ 980704 h 1200597"/>
              <a:gd name="connsiteX302" fmla="*/ 774119 w 1105969"/>
              <a:gd name="connsiteY302" fmla="*/ 825928 h 1200597"/>
              <a:gd name="connsiteX303" fmla="*/ 773114 w 1105969"/>
              <a:gd name="connsiteY303" fmla="*/ 824213 h 1200597"/>
              <a:gd name="connsiteX304" fmla="*/ 639096 w 1105969"/>
              <a:gd name="connsiteY304" fmla="*/ 746913 h 1200597"/>
              <a:gd name="connsiteX305" fmla="*/ 636443 w 1105969"/>
              <a:gd name="connsiteY305" fmla="*/ 747673 h 1200597"/>
              <a:gd name="connsiteX306" fmla="*/ 636198 w 1105969"/>
              <a:gd name="connsiteY306" fmla="*/ 748569 h 1200597"/>
              <a:gd name="connsiteX307" fmla="*/ 636198 w 1105969"/>
              <a:gd name="connsiteY307" fmla="*/ 903346 h 120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</a:cxnLst>
            <a:rect l="l" t="t" r="r" b="b"/>
            <a:pathLst>
              <a:path w="1105969" h="1200597">
                <a:moveTo>
                  <a:pt x="619224" y="0"/>
                </a:moveTo>
                <a:cubicBezTo>
                  <a:pt x="630895" y="3982"/>
                  <a:pt x="636731" y="12854"/>
                  <a:pt x="636731" y="26614"/>
                </a:cubicBezTo>
                <a:cubicBezTo>
                  <a:pt x="636731" y="59419"/>
                  <a:pt x="636711" y="91947"/>
                  <a:pt x="636671" y="124200"/>
                </a:cubicBezTo>
                <a:cubicBezTo>
                  <a:pt x="636671" y="125383"/>
                  <a:pt x="637184" y="125678"/>
                  <a:pt x="638209" y="125087"/>
                </a:cubicBezTo>
                <a:lnTo>
                  <a:pt x="700782" y="88951"/>
                </a:lnTo>
                <a:cubicBezTo>
                  <a:pt x="714622" y="80947"/>
                  <a:pt x="725563" y="83884"/>
                  <a:pt x="733606" y="97763"/>
                </a:cubicBezTo>
                <a:lnTo>
                  <a:pt x="787131" y="190558"/>
                </a:lnTo>
                <a:cubicBezTo>
                  <a:pt x="787998" y="192017"/>
                  <a:pt x="789260" y="192746"/>
                  <a:pt x="790916" y="192746"/>
                </a:cubicBezTo>
                <a:lnTo>
                  <a:pt x="897491" y="192746"/>
                </a:lnTo>
                <a:cubicBezTo>
                  <a:pt x="913933" y="192746"/>
                  <a:pt x="922153" y="200947"/>
                  <a:pt x="922153" y="217349"/>
                </a:cubicBezTo>
                <a:lnTo>
                  <a:pt x="922153" y="288853"/>
                </a:lnTo>
                <a:cubicBezTo>
                  <a:pt x="922153" y="290115"/>
                  <a:pt x="922686" y="290430"/>
                  <a:pt x="923750" y="289799"/>
                </a:cubicBezTo>
                <a:lnTo>
                  <a:pt x="1010099" y="239942"/>
                </a:lnTo>
                <a:cubicBezTo>
                  <a:pt x="1023938" y="231938"/>
                  <a:pt x="1034820" y="234895"/>
                  <a:pt x="1042745" y="248813"/>
                </a:cubicBezTo>
                <a:lnTo>
                  <a:pt x="1105969" y="359529"/>
                </a:lnTo>
                <a:lnTo>
                  <a:pt x="1105969" y="374196"/>
                </a:lnTo>
                <a:lnTo>
                  <a:pt x="1006728" y="434817"/>
                </a:lnTo>
                <a:cubicBezTo>
                  <a:pt x="1006368" y="435043"/>
                  <a:pt x="1006260" y="435518"/>
                  <a:pt x="1006487" y="435878"/>
                </a:cubicBezTo>
                <a:cubicBezTo>
                  <a:pt x="1006548" y="435975"/>
                  <a:pt x="1006630" y="436057"/>
                  <a:pt x="1006728" y="436118"/>
                </a:cubicBezTo>
                <a:lnTo>
                  <a:pt x="1069360" y="472255"/>
                </a:lnTo>
                <a:cubicBezTo>
                  <a:pt x="1083436" y="480377"/>
                  <a:pt x="1086413" y="491496"/>
                  <a:pt x="1078290" y="505611"/>
                </a:cubicBezTo>
                <a:lnTo>
                  <a:pt x="1024944" y="597933"/>
                </a:lnTo>
                <a:cubicBezTo>
                  <a:pt x="1024037" y="599510"/>
                  <a:pt x="1024037" y="601067"/>
                  <a:pt x="1024944" y="602605"/>
                </a:cubicBezTo>
                <a:lnTo>
                  <a:pt x="1078290" y="694986"/>
                </a:lnTo>
                <a:cubicBezTo>
                  <a:pt x="1086413" y="709062"/>
                  <a:pt x="1083436" y="720161"/>
                  <a:pt x="1069360" y="728283"/>
                </a:cubicBezTo>
                <a:lnTo>
                  <a:pt x="1006964" y="764301"/>
                </a:lnTo>
                <a:cubicBezTo>
                  <a:pt x="1006523" y="764521"/>
                  <a:pt x="1006366" y="765069"/>
                  <a:pt x="1006614" y="765526"/>
                </a:cubicBezTo>
                <a:cubicBezTo>
                  <a:pt x="1006697" y="765678"/>
                  <a:pt x="1006818" y="765806"/>
                  <a:pt x="1006964" y="765898"/>
                </a:cubicBezTo>
                <a:lnTo>
                  <a:pt x="1105969" y="826579"/>
                </a:lnTo>
                <a:lnTo>
                  <a:pt x="1105969" y="840536"/>
                </a:lnTo>
                <a:lnTo>
                  <a:pt x="1042745" y="951784"/>
                </a:lnTo>
                <a:cubicBezTo>
                  <a:pt x="1034820" y="965662"/>
                  <a:pt x="1023918" y="968600"/>
                  <a:pt x="1010040" y="960596"/>
                </a:cubicBezTo>
                <a:lnTo>
                  <a:pt x="923277" y="910502"/>
                </a:lnTo>
                <a:cubicBezTo>
                  <a:pt x="922449" y="910029"/>
                  <a:pt x="922035" y="910265"/>
                  <a:pt x="922035" y="911212"/>
                </a:cubicBezTo>
                <a:lnTo>
                  <a:pt x="922035" y="984549"/>
                </a:lnTo>
                <a:cubicBezTo>
                  <a:pt x="922035" y="1000044"/>
                  <a:pt x="914307" y="1007792"/>
                  <a:pt x="898851" y="1007792"/>
                </a:cubicBezTo>
                <a:lnTo>
                  <a:pt x="790975" y="1007792"/>
                </a:lnTo>
                <a:cubicBezTo>
                  <a:pt x="789279" y="1007792"/>
                  <a:pt x="787998" y="1008521"/>
                  <a:pt x="787131" y="1009980"/>
                </a:cubicBezTo>
                <a:lnTo>
                  <a:pt x="733902" y="1102184"/>
                </a:lnTo>
                <a:cubicBezTo>
                  <a:pt x="725662" y="1116496"/>
                  <a:pt x="714365" y="1119512"/>
                  <a:pt x="700013" y="1111232"/>
                </a:cubicBezTo>
                <a:lnTo>
                  <a:pt x="637973" y="1075392"/>
                </a:lnTo>
                <a:cubicBezTo>
                  <a:pt x="637066" y="1074879"/>
                  <a:pt x="636612" y="1075155"/>
                  <a:pt x="636612" y="1076220"/>
                </a:cubicBezTo>
                <a:cubicBezTo>
                  <a:pt x="636612" y="1110168"/>
                  <a:pt x="636632" y="1144254"/>
                  <a:pt x="636671" y="1178478"/>
                </a:cubicBezTo>
                <a:cubicBezTo>
                  <a:pt x="636711" y="1188769"/>
                  <a:pt x="631132" y="1196142"/>
                  <a:pt x="619934" y="1200597"/>
                </a:cubicBezTo>
                <a:lnTo>
                  <a:pt x="486804" y="1200597"/>
                </a:lnTo>
                <a:cubicBezTo>
                  <a:pt x="475291" y="1196497"/>
                  <a:pt x="469554" y="1188631"/>
                  <a:pt x="469593" y="1176999"/>
                </a:cubicBezTo>
                <a:cubicBezTo>
                  <a:pt x="469751" y="1148887"/>
                  <a:pt x="469613" y="1115885"/>
                  <a:pt x="469179" y="1077994"/>
                </a:cubicBezTo>
                <a:cubicBezTo>
                  <a:pt x="469140" y="1075826"/>
                  <a:pt x="468194" y="1075293"/>
                  <a:pt x="466340" y="1076397"/>
                </a:cubicBezTo>
                <a:lnTo>
                  <a:pt x="405364" y="1111587"/>
                </a:lnTo>
                <a:cubicBezTo>
                  <a:pt x="391525" y="1119591"/>
                  <a:pt x="380603" y="1116654"/>
                  <a:pt x="372599" y="1102775"/>
                </a:cubicBezTo>
                <a:lnTo>
                  <a:pt x="319075" y="1010039"/>
                </a:lnTo>
                <a:cubicBezTo>
                  <a:pt x="318208" y="1008541"/>
                  <a:pt x="316906" y="1007792"/>
                  <a:pt x="315172" y="1007792"/>
                </a:cubicBezTo>
                <a:lnTo>
                  <a:pt x="208537" y="1007792"/>
                </a:lnTo>
                <a:cubicBezTo>
                  <a:pt x="192214" y="1007792"/>
                  <a:pt x="184052" y="999610"/>
                  <a:pt x="184052" y="983248"/>
                </a:cubicBezTo>
                <a:lnTo>
                  <a:pt x="184052" y="911744"/>
                </a:lnTo>
                <a:cubicBezTo>
                  <a:pt x="184052" y="910443"/>
                  <a:pt x="183480" y="910108"/>
                  <a:pt x="182337" y="910739"/>
                </a:cubicBezTo>
                <a:lnTo>
                  <a:pt x="96166" y="960537"/>
                </a:lnTo>
                <a:cubicBezTo>
                  <a:pt x="82287" y="968541"/>
                  <a:pt x="71366" y="965584"/>
                  <a:pt x="63401" y="951665"/>
                </a:cubicBezTo>
                <a:lnTo>
                  <a:pt x="0" y="840654"/>
                </a:lnTo>
                <a:lnTo>
                  <a:pt x="0" y="826401"/>
                </a:lnTo>
                <a:lnTo>
                  <a:pt x="99419" y="765780"/>
                </a:lnTo>
                <a:cubicBezTo>
                  <a:pt x="99811" y="765544"/>
                  <a:pt x="99938" y="765036"/>
                  <a:pt x="99702" y="764644"/>
                </a:cubicBezTo>
                <a:cubicBezTo>
                  <a:pt x="99632" y="764527"/>
                  <a:pt x="99535" y="764430"/>
                  <a:pt x="99419" y="764360"/>
                </a:cubicBezTo>
                <a:lnTo>
                  <a:pt x="36728" y="728165"/>
                </a:lnTo>
                <a:cubicBezTo>
                  <a:pt x="22691" y="720082"/>
                  <a:pt x="19714" y="709042"/>
                  <a:pt x="27797" y="695045"/>
                </a:cubicBezTo>
                <a:lnTo>
                  <a:pt x="81380" y="602309"/>
                </a:lnTo>
                <a:cubicBezTo>
                  <a:pt x="82169" y="600929"/>
                  <a:pt x="82169" y="599530"/>
                  <a:pt x="81380" y="598110"/>
                </a:cubicBezTo>
                <a:lnTo>
                  <a:pt x="27915" y="505493"/>
                </a:lnTo>
                <a:cubicBezTo>
                  <a:pt x="19793" y="491456"/>
                  <a:pt x="22750" y="480377"/>
                  <a:pt x="36787" y="472255"/>
                </a:cubicBezTo>
                <a:lnTo>
                  <a:pt x="99123" y="436237"/>
                </a:lnTo>
                <a:cubicBezTo>
                  <a:pt x="99591" y="435941"/>
                  <a:pt x="99753" y="435336"/>
                  <a:pt x="99485" y="434886"/>
                </a:cubicBezTo>
                <a:cubicBezTo>
                  <a:pt x="99410" y="434761"/>
                  <a:pt x="99307" y="434657"/>
                  <a:pt x="99182" y="434581"/>
                </a:cubicBezTo>
                <a:lnTo>
                  <a:pt x="0" y="374314"/>
                </a:lnTo>
                <a:lnTo>
                  <a:pt x="0" y="360416"/>
                </a:lnTo>
                <a:lnTo>
                  <a:pt x="65589" y="245738"/>
                </a:lnTo>
                <a:cubicBezTo>
                  <a:pt x="71174" y="236025"/>
                  <a:pt x="83574" y="232678"/>
                  <a:pt x="93287" y="238263"/>
                </a:cubicBezTo>
                <a:cubicBezTo>
                  <a:pt x="93300" y="238270"/>
                  <a:pt x="93314" y="238278"/>
                  <a:pt x="93327" y="238286"/>
                </a:cubicBezTo>
                <a:lnTo>
                  <a:pt x="181272" y="289090"/>
                </a:lnTo>
                <a:cubicBezTo>
                  <a:pt x="182850" y="289996"/>
                  <a:pt x="183658" y="289523"/>
                  <a:pt x="183697" y="287670"/>
                </a:cubicBezTo>
                <a:cubicBezTo>
                  <a:pt x="184407" y="249898"/>
                  <a:pt x="184565" y="227522"/>
                  <a:pt x="184170" y="220543"/>
                </a:cubicBezTo>
                <a:cubicBezTo>
                  <a:pt x="183066" y="201775"/>
                  <a:pt x="191662" y="192411"/>
                  <a:pt x="209957" y="192450"/>
                </a:cubicBezTo>
                <a:cubicBezTo>
                  <a:pt x="274107" y="192726"/>
                  <a:pt x="309178" y="192864"/>
                  <a:pt x="315172" y="192864"/>
                </a:cubicBezTo>
                <a:cubicBezTo>
                  <a:pt x="316867" y="192904"/>
                  <a:pt x="318129" y="192194"/>
                  <a:pt x="318957" y="190735"/>
                </a:cubicBezTo>
                <a:lnTo>
                  <a:pt x="374196" y="95042"/>
                </a:lnTo>
                <a:cubicBezTo>
                  <a:pt x="379961" y="85019"/>
                  <a:pt x="392760" y="81567"/>
                  <a:pt x="402783" y="87332"/>
                </a:cubicBezTo>
                <a:cubicBezTo>
                  <a:pt x="402796" y="87339"/>
                  <a:pt x="402809" y="87346"/>
                  <a:pt x="402821" y="87354"/>
                </a:cubicBezTo>
                <a:lnTo>
                  <a:pt x="466991" y="124436"/>
                </a:lnTo>
                <a:cubicBezTo>
                  <a:pt x="468647" y="125383"/>
                  <a:pt x="469495" y="124890"/>
                  <a:pt x="469534" y="122958"/>
                </a:cubicBezTo>
                <a:cubicBezTo>
                  <a:pt x="469652" y="112706"/>
                  <a:pt x="469712" y="84160"/>
                  <a:pt x="469712" y="37319"/>
                </a:cubicBezTo>
                <a:cubicBezTo>
                  <a:pt x="469712" y="19990"/>
                  <a:pt x="467523" y="7748"/>
                  <a:pt x="486035" y="0"/>
                </a:cubicBezTo>
                <a:lnTo>
                  <a:pt x="619224" y="0"/>
                </a:lnTo>
                <a:close/>
                <a:moveTo>
                  <a:pt x="448243" y="600239"/>
                </a:moveTo>
                <a:cubicBezTo>
                  <a:pt x="448243" y="607928"/>
                  <a:pt x="445640" y="613310"/>
                  <a:pt x="440436" y="616385"/>
                </a:cubicBezTo>
                <a:cubicBezTo>
                  <a:pt x="388430" y="647061"/>
                  <a:pt x="328301" y="682014"/>
                  <a:pt x="260051" y="721245"/>
                </a:cubicBezTo>
                <a:cubicBezTo>
                  <a:pt x="252946" y="725310"/>
                  <a:pt x="244225" y="725287"/>
                  <a:pt x="237162" y="721186"/>
                </a:cubicBezTo>
                <a:lnTo>
                  <a:pt x="107817" y="646489"/>
                </a:lnTo>
                <a:cubicBezTo>
                  <a:pt x="106003" y="645464"/>
                  <a:pt x="104604" y="645838"/>
                  <a:pt x="103618" y="647613"/>
                </a:cubicBezTo>
                <a:lnTo>
                  <a:pt x="74520" y="698475"/>
                </a:lnTo>
                <a:cubicBezTo>
                  <a:pt x="73570" y="700114"/>
                  <a:pt x="74244" y="702277"/>
                  <a:pt x="76025" y="703307"/>
                </a:cubicBezTo>
                <a:cubicBezTo>
                  <a:pt x="76036" y="703313"/>
                  <a:pt x="76047" y="703319"/>
                  <a:pt x="76058" y="703325"/>
                </a:cubicBezTo>
                <a:cubicBezTo>
                  <a:pt x="77635" y="704232"/>
                  <a:pt x="102948" y="718604"/>
                  <a:pt x="151997" y="746440"/>
                </a:cubicBezTo>
                <a:cubicBezTo>
                  <a:pt x="169207" y="756258"/>
                  <a:pt x="165363" y="775893"/>
                  <a:pt x="149335" y="785297"/>
                </a:cubicBezTo>
                <a:cubicBezTo>
                  <a:pt x="115072" y="805327"/>
                  <a:pt x="82465" y="824154"/>
                  <a:pt x="51513" y="841778"/>
                </a:cubicBezTo>
                <a:cubicBezTo>
                  <a:pt x="50092" y="842582"/>
                  <a:pt x="49577" y="844363"/>
                  <a:pt x="50365" y="845757"/>
                </a:cubicBezTo>
                <a:cubicBezTo>
                  <a:pt x="50373" y="845771"/>
                  <a:pt x="50381" y="845786"/>
                  <a:pt x="50390" y="845800"/>
                </a:cubicBezTo>
                <a:lnTo>
                  <a:pt x="90370" y="914997"/>
                </a:lnTo>
                <a:cubicBezTo>
                  <a:pt x="90950" y="916020"/>
                  <a:pt x="92250" y="916378"/>
                  <a:pt x="93273" y="915798"/>
                </a:cubicBezTo>
                <a:cubicBezTo>
                  <a:pt x="93291" y="915787"/>
                  <a:pt x="93309" y="915777"/>
                  <a:pt x="93327" y="915766"/>
                </a:cubicBezTo>
                <a:cubicBezTo>
                  <a:pt x="126250" y="896406"/>
                  <a:pt x="159409" y="877185"/>
                  <a:pt x="192805" y="858102"/>
                </a:cubicBezTo>
                <a:cubicBezTo>
                  <a:pt x="214156" y="845800"/>
                  <a:pt x="225984" y="861591"/>
                  <a:pt x="225984" y="882409"/>
                </a:cubicBezTo>
                <a:cubicBezTo>
                  <a:pt x="225984" y="928146"/>
                  <a:pt x="225965" y="955608"/>
                  <a:pt x="225925" y="964795"/>
                </a:cubicBezTo>
                <a:cubicBezTo>
                  <a:pt x="225925" y="966036"/>
                  <a:pt x="226931" y="967043"/>
                  <a:pt x="228173" y="967043"/>
                </a:cubicBezTo>
                <a:lnTo>
                  <a:pt x="286961" y="967042"/>
                </a:lnTo>
                <a:cubicBezTo>
                  <a:pt x="289169" y="967042"/>
                  <a:pt x="290292" y="965938"/>
                  <a:pt x="290332" y="963730"/>
                </a:cubicBezTo>
                <a:cubicBezTo>
                  <a:pt x="290805" y="880891"/>
                  <a:pt x="290627" y="832729"/>
                  <a:pt x="289799" y="819245"/>
                </a:cubicBezTo>
                <a:cubicBezTo>
                  <a:pt x="289050" y="807613"/>
                  <a:pt x="294551" y="798387"/>
                  <a:pt x="306300" y="791566"/>
                </a:cubicBezTo>
                <a:cubicBezTo>
                  <a:pt x="341234" y="771260"/>
                  <a:pt x="399115" y="738002"/>
                  <a:pt x="479943" y="691792"/>
                </a:cubicBezTo>
                <a:cubicBezTo>
                  <a:pt x="489882" y="686076"/>
                  <a:pt x="502572" y="689499"/>
                  <a:pt x="508288" y="699437"/>
                </a:cubicBezTo>
                <a:cubicBezTo>
                  <a:pt x="510107" y="702599"/>
                  <a:pt x="511060" y="706184"/>
                  <a:pt x="511052" y="709831"/>
                </a:cubicBezTo>
                <a:lnTo>
                  <a:pt x="511052" y="915352"/>
                </a:lnTo>
                <a:cubicBezTo>
                  <a:pt x="511053" y="923442"/>
                  <a:pt x="506750" y="930921"/>
                  <a:pt x="499756" y="934987"/>
                </a:cubicBezTo>
                <a:lnTo>
                  <a:pt x="368637" y="1010690"/>
                </a:lnTo>
                <a:cubicBezTo>
                  <a:pt x="367886" y="1011118"/>
                  <a:pt x="367624" y="1012087"/>
                  <a:pt x="368045" y="1012878"/>
                </a:cubicBezTo>
                <a:lnTo>
                  <a:pt x="398681" y="1065929"/>
                </a:lnTo>
                <a:cubicBezTo>
                  <a:pt x="399383" y="1067081"/>
                  <a:pt x="400853" y="1067474"/>
                  <a:pt x="401993" y="1066816"/>
                </a:cubicBezTo>
                <a:lnTo>
                  <a:pt x="480239" y="1021631"/>
                </a:lnTo>
                <a:cubicBezTo>
                  <a:pt x="490045" y="1015948"/>
                  <a:pt x="502602" y="1019290"/>
                  <a:pt x="508286" y="1029096"/>
                </a:cubicBezTo>
                <a:cubicBezTo>
                  <a:pt x="510106" y="1032237"/>
                  <a:pt x="511060" y="1035804"/>
                  <a:pt x="511052" y="1039433"/>
                </a:cubicBezTo>
                <a:lnTo>
                  <a:pt x="511052" y="1156003"/>
                </a:lnTo>
                <a:cubicBezTo>
                  <a:pt x="511052" y="1158093"/>
                  <a:pt x="512097" y="1159138"/>
                  <a:pt x="514187" y="1159138"/>
                </a:cubicBezTo>
                <a:lnTo>
                  <a:pt x="593261" y="1159138"/>
                </a:lnTo>
                <a:cubicBezTo>
                  <a:pt x="594208" y="1159138"/>
                  <a:pt x="594976" y="1158370"/>
                  <a:pt x="594976" y="1157423"/>
                </a:cubicBezTo>
                <a:lnTo>
                  <a:pt x="594976" y="1039965"/>
                </a:lnTo>
                <a:cubicBezTo>
                  <a:pt x="594976" y="1028435"/>
                  <a:pt x="604323" y="1019088"/>
                  <a:pt x="615853" y="1019088"/>
                </a:cubicBezTo>
                <a:cubicBezTo>
                  <a:pt x="619506" y="1019088"/>
                  <a:pt x="623096" y="1020046"/>
                  <a:pt x="626262" y="1021868"/>
                </a:cubicBezTo>
                <a:lnTo>
                  <a:pt x="703089" y="1066284"/>
                </a:lnTo>
                <a:cubicBezTo>
                  <a:pt x="705100" y="1067427"/>
                  <a:pt x="706696" y="1066994"/>
                  <a:pt x="707879" y="1064983"/>
                </a:cubicBezTo>
                <a:lnTo>
                  <a:pt x="737273" y="1014002"/>
                </a:lnTo>
                <a:cubicBezTo>
                  <a:pt x="738259" y="1012306"/>
                  <a:pt x="737904" y="1010986"/>
                  <a:pt x="736209" y="1010039"/>
                </a:cubicBezTo>
                <a:lnTo>
                  <a:pt x="606036" y="934869"/>
                </a:lnTo>
                <a:cubicBezTo>
                  <a:pt x="599262" y="930946"/>
                  <a:pt x="595093" y="923734"/>
                  <a:pt x="595094" y="915943"/>
                </a:cubicBezTo>
                <a:cubicBezTo>
                  <a:pt x="594936" y="781926"/>
                  <a:pt x="594838" y="714306"/>
                  <a:pt x="594798" y="713084"/>
                </a:cubicBezTo>
                <a:cubicBezTo>
                  <a:pt x="594739" y="695577"/>
                  <a:pt x="610235" y="682862"/>
                  <a:pt x="625257" y="691378"/>
                </a:cubicBezTo>
                <a:cubicBezTo>
                  <a:pt x="655775" y="708687"/>
                  <a:pt x="715745" y="743128"/>
                  <a:pt x="805169" y="794701"/>
                </a:cubicBezTo>
                <a:cubicBezTo>
                  <a:pt x="811572" y="798354"/>
                  <a:pt x="815523" y="805149"/>
                  <a:pt x="815519" y="812503"/>
                </a:cubicBezTo>
                <a:lnTo>
                  <a:pt x="815519" y="963139"/>
                </a:lnTo>
                <a:cubicBezTo>
                  <a:pt x="815519" y="965741"/>
                  <a:pt x="816820" y="967042"/>
                  <a:pt x="819423" y="967042"/>
                </a:cubicBezTo>
                <a:lnTo>
                  <a:pt x="876791" y="967042"/>
                </a:lnTo>
                <a:cubicBezTo>
                  <a:pt x="878841" y="967042"/>
                  <a:pt x="879866" y="966017"/>
                  <a:pt x="879866" y="963967"/>
                </a:cubicBezTo>
                <a:cubicBezTo>
                  <a:pt x="880024" y="952336"/>
                  <a:pt x="880103" y="925505"/>
                  <a:pt x="880103" y="883474"/>
                </a:cubicBezTo>
                <a:cubicBezTo>
                  <a:pt x="880103" y="873065"/>
                  <a:pt x="881838" y="865494"/>
                  <a:pt x="885308" y="860763"/>
                </a:cubicBezTo>
                <a:cubicBezTo>
                  <a:pt x="891774" y="851813"/>
                  <a:pt x="901099" y="850866"/>
                  <a:pt x="913282" y="857924"/>
                </a:cubicBezTo>
                <a:cubicBezTo>
                  <a:pt x="977669" y="895224"/>
                  <a:pt x="1010592" y="914307"/>
                  <a:pt x="1012050" y="915174"/>
                </a:cubicBezTo>
                <a:cubicBezTo>
                  <a:pt x="1013864" y="916239"/>
                  <a:pt x="1015303" y="915845"/>
                  <a:pt x="1016368" y="913991"/>
                </a:cubicBezTo>
                <a:lnTo>
                  <a:pt x="1055875" y="845622"/>
                </a:lnTo>
                <a:cubicBezTo>
                  <a:pt x="1056610" y="844321"/>
                  <a:pt x="1056135" y="842657"/>
                  <a:pt x="1054811" y="841896"/>
                </a:cubicBezTo>
                <a:cubicBezTo>
                  <a:pt x="1002765" y="812286"/>
                  <a:pt x="969645" y="793123"/>
                  <a:pt x="955451" y="784410"/>
                </a:cubicBezTo>
                <a:cubicBezTo>
                  <a:pt x="941197" y="775775"/>
                  <a:pt x="937176" y="758032"/>
                  <a:pt x="952198" y="748333"/>
                </a:cubicBezTo>
                <a:cubicBezTo>
                  <a:pt x="962725" y="741512"/>
                  <a:pt x="988728" y="726391"/>
                  <a:pt x="1030207" y="702970"/>
                </a:cubicBezTo>
                <a:cubicBezTo>
                  <a:pt x="1031865" y="702053"/>
                  <a:pt x="1032465" y="699966"/>
                  <a:pt x="1031548" y="698308"/>
                </a:cubicBezTo>
                <a:cubicBezTo>
                  <a:pt x="1031535" y="698285"/>
                  <a:pt x="1031522" y="698262"/>
                  <a:pt x="1031508" y="698239"/>
                </a:cubicBezTo>
                <a:lnTo>
                  <a:pt x="1002292" y="647613"/>
                </a:lnTo>
                <a:cubicBezTo>
                  <a:pt x="1001467" y="646186"/>
                  <a:pt x="999650" y="645686"/>
                  <a:pt x="998211" y="646489"/>
                </a:cubicBezTo>
                <a:lnTo>
                  <a:pt x="868807" y="721186"/>
                </a:lnTo>
                <a:cubicBezTo>
                  <a:pt x="861706" y="725284"/>
                  <a:pt x="852943" y="725284"/>
                  <a:pt x="845800" y="721186"/>
                </a:cubicBezTo>
                <a:cubicBezTo>
                  <a:pt x="827072" y="710422"/>
                  <a:pt x="769131" y="676809"/>
                  <a:pt x="671980" y="620348"/>
                </a:cubicBezTo>
                <a:cubicBezTo>
                  <a:pt x="662714" y="614946"/>
                  <a:pt x="658081" y="608243"/>
                  <a:pt x="658081" y="600239"/>
                </a:cubicBezTo>
                <a:cubicBezTo>
                  <a:pt x="658081" y="592235"/>
                  <a:pt x="662714" y="585533"/>
                  <a:pt x="671980" y="580131"/>
                </a:cubicBezTo>
                <a:cubicBezTo>
                  <a:pt x="769131" y="523630"/>
                  <a:pt x="827072" y="489997"/>
                  <a:pt x="845800" y="479233"/>
                </a:cubicBezTo>
                <a:cubicBezTo>
                  <a:pt x="852943" y="475136"/>
                  <a:pt x="861706" y="475136"/>
                  <a:pt x="868807" y="479233"/>
                </a:cubicBezTo>
                <a:lnTo>
                  <a:pt x="998211" y="553931"/>
                </a:lnTo>
                <a:cubicBezTo>
                  <a:pt x="999650" y="554734"/>
                  <a:pt x="1001467" y="554233"/>
                  <a:pt x="1002292" y="552807"/>
                </a:cubicBezTo>
                <a:lnTo>
                  <a:pt x="1031508" y="502181"/>
                </a:lnTo>
                <a:cubicBezTo>
                  <a:pt x="1032464" y="500545"/>
                  <a:pt x="1031912" y="498444"/>
                  <a:pt x="1030276" y="497489"/>
                </a:cubicBezTo>
                <a:cubicBezTo>
                  <a:pt x="1030253" y="497475"/>
                  <a:pt x="1030230" y="497462"/>
                  <a:pt x="1030207" y="497449"/>
                </a:cubicBezTo>
                <a:cubicBezTo>
                  <a:pt x="988728" y="474029"/>
                  <a:pt x="962725" y="458908"/>
                  <a:pt x="952198" y="452087"/>
                </a:cubicBezTo>
                <a:cubicBezTo>
                  <a:pt x="937176" y="442387"/>
                  <a:pt x="941197" y="424645"/>
                  <a:pt x="955451" y="416010"/>
                </a:cubicBezTo>
                <a:cubicBezTo>
                  <a:pt x="969645" y="407296"/>
                  <a:pt x="1002765" y="388134"/>
                  <a:pt x="1054811" y="358523"/>
                </a:cubicBezTo>
                <a:cubicBezTo>
                  <a:pt x="1056135" y="357762"/>
                  <a:pt x="1056610" y="356099"/>
                  <a:pt x="1055875" y="354797"/>
                </a:cubicBezTo>
                <a:lnTo>
                  <a:pt x="1016368" y="286428"/>
                </a:lnTo>
                <a:cubicBezTo>
                  <a:pt x="1015303" y="284575"/>
                  <a:pt x="1013864" y="284181"/>
                  <a:pt x="1012050" y="285245"/>
                </a:cubicBezTo>
                <a:cubicBezTo>
                  <a:pt x="1010592" y="286113"/>
                  <a:pt x="977669" y="305196"/>
                  <a:pt x="913282" y="342495"/>
                </a:cubicBezTo>
                <a:cubicBezTo>
                  <a:pt x="901099" y="349553"/>
                  <a:pt x="891774" y="348607"/>
                  <a:pt x="885308" y="339657"/>
                </a:cubicBezTo>
                <a:cubicBezTo>
                  <a:pt x="881838" y="334925"/>
                  <a:pt x="880103" y="327355"/>
                  <a:pt x="880103" y="316946"/>
                </a:cubicBezTo>
                <a:cubicBezTo>
                  <a:pt x="880103" y="274915"/>
                  <a:pt x="880024" y="248084"/>
                  <a:pt x="879866" y="236453"/>
                </a:cubicBezTo>
                <a:cubicBezTo>
                  <a:pt x="879866" y="234402"/>
                  <a:pt x="878841" y="233377"/>
                  <a:pt x="876791" y="233377"/>
                </a:cubicBezTo>
                <a:lnTo>
                  <a:pt x="819423" y="233377"/>
                </a:lnTo>
                <a:cubicBezTo>
                  <a:pt x="816820" y="233377"/>
                  <a:pt x="815519" y="234678"/>
                  <a:pt x="815519" y="237281"/>
                </a:cubicBezTo>
                <a:lnTo>
                  <a:pt x="815519" y="387917"/>
                </a:lnTo>
                <a:cubicBezTo>
                  <a:pt x="815523" y="395270"/>
                  <a:pt x="811572" y="402066"/>
                  <a:pt x="805169" y="405719"/>
                </a:cubicBezTo>
                <a:cubicBezTo>
                  <a:pt x="715745" y="457331"/>
                  <a:pt x="655775" y="491791"/>
                  <a:pt x="625257" y="509100"/>
                </a:cubicBezTo>
                <a:cubicBezTo>
                  <a:pt x="610235" y="517617"/>
                  <a:pt x="594739" y="504901"/>
                  <a:pt x="594798" y="487395"/>
                </a:cubicBezTo>
                <a:cubicBezTo>
                  <a:pt x="594838" y="486173"/>
                  <a:pt x="594936" y="418553"/>
                  <a:pt x="595094" y="284536"/>
                </a:cubicBezTo>
                <a:cubicBezTo>
                  <a:pt x="595093" y="276745"/>
                  <a:pt x="599262" y="269533"/>
                  <a:pt x="606036" y="265610"/>
                </a:cubicBezTo>
                <a:lnTo>
                  <a:pt x="736209" y="190380"/>
                </a:lnTo>
                <a:cubicBezTo>
                  <a:pt x="737904" y="189434"/>
                  <a:pt x="738259" y="188113"/>
                  <a:pt x="737273" y="186418"/>
                </a:cubicBezTo>
                <a:lnTo>
                  <a:pt x="707879" y="135496"/>
                </a:lnTo>
                <a:cubicBezTo>
                  <a:pt x="706696" y="133485"/>
                  <a:pt x="705100" y="133051"/>
                  <a:pt x="703089" y="134195"/>
                </a:cubicBezTo>
                <a:lnTo>
                  <a:pt x="626262" y="178611"/>
                </a:lnTo>
                <a:cubicBezTo>
                  <a:pt x="616267" y="184360"/>
                  <a:pt x="603505" y="180918"/>
                  <a:pt x="597756" y="170923"/>
                </a:cubicBezTo>
                <a:cubicBezTo>
                  <a:pt x="595934" y="167756"/>
                  <a:pt x="594976" y="164167"/>
                  <a:pt x="594976" y="160513"/>
                </a:cubicBezTo>
                <a:lnTo>
                  <a:pt x="594976" y="43056"/>
                </a:lnTo>
                <a:cubicBezTo>
                  <a:pt x="594976" y="42109"/>
                  <a:pt x="594208" y="41341"/>
                  <a:pt x="593261" y="41341"/>
                </a:cubicBezTo>
                <a:lnTo>
                  <a:pt x="514187" y="41341"/>
                </a:lnTo>
                <a:cubicBezTo>
                  <a:pt x="512097" y="41341"/>
                  <a:pt x="511052" y="42386"/>
                  <a:pt x="511052" y="44475"/>
                </a:cubicBezTo>
                <a:lnTo>
                  <a:pt x="511052" y="161046"/>
                </a:lnTo>
                <a:cubicBezTo>
                  <a:pt x="511078" y="172380"/>
                  <a:pt x="501910" y="181589"/>
                  <a:pt x="490576" y="181614"/>
                </a:cubicBezTo>
                <a:cubicBezTo>
                  <a:pt x="486946" y="181622"/>
                  <a:pt x="483379" y="180668"/>
                  <a:pt x="480239" y="178848"/>
                </a:cubicBezTo>
                <a:lnTo>
                  <a:pt x="401993" y="133663"/>
                </a:lnTo>
                <a:cubicBezTo>
                  <a:pt x="400853" y="133004"/>
                  <a:pt x="399383" y="133398"/>
                  <a:pt x="398681" y="134550"/>
                </a:cubicBezTo>
                <a:lnTo>
                  <a:pt x="368045" y="187601"/>
                </a:lnTo>
                <a:cubicBezTo>
                  <a:pt x="367624" y="188391"/>
                  <a:pt x="367886" y="189361"/>
                  <a:pt x="368637" y="189789"/>
                </a:cubicBezTo>
                <a:lnTo>
                  <a:pt x="499756" y="265492"/>
                </a:lnTo>
                <a:cubicBezTo>
                  <a:pt x="506750" y="269558"/>
                  <a:pt x="511053" y="277037"/>
                  <a:pt x="511052" y="285127"/>
                </a:cubicBezTo>
                <a:lnTo>
                  <a:pt x="511052" y="490648"/>
                </a:lnTo>
                <a:cubicBezTo>
                  <a:pt x="511076" y="502113"/>
                  <a:pt x="501802" y="511426"/>
                  <a:pt x="490337" y="511451"/>
                </a:cubicBezTo>
                <a:cubicBezTo>
                  <a:pt x="486690" y="511458"/>
                  <a:pt x="483105" y="510505"/>
                  <a:pt x="479943" y="508686"/>
                </a:cubicBezTo>
                <a:cubicBezTo>
                  <a:pt x="399115" y="462476"/>
                  <a:pt x="341234" y="429218"/>
                  <a:pt x="306300" y="408913"/>
                </a:cubicBezTo>
                <a:cubicBezTo>
                  <a:pt x="294551" y="402092"/>
                  <a:pt x="289050" y="392865"/>
                  <a:pt x="289799" y="381234"/>
                </a:cubicBezTo>
                <a:cubicBezTo>
                  <a:pt x="290627" y="367749"/>
                  <a:pt x="290805" y="319588"/>
                  <a:pt x="290332" y="236748"/>
                </a:cubicBezTo>
                <a:cubicBezTo>
                  <a:pt x="290292" y="234540"/>
                  <a:pt x="289169" y="233436"/>
                  <a:pt x="286961" y="233436"/>
                </a:cubicBezTo>
                <a:lnTo>
                  <a:pt x="228173" y="233436"/>
                </a:lnTo>
                <a:cubicBezTo>
                  <a:pt x="226931" y="233436"/>
                  <a:pt x="225925" y="234442"/>
                  <a:pt x="225925" y="235684"/>
                </a:cubicBezTo>
                <a:cubicBezTo>
                  <a:pt x="225965" y="244871"/>
                  <a:pt x="225984" y="272332"/>
                  <a:pt x="225984" y="318069"/>
                </a:cubicBezTo>
                <a:cubicBezTo>
                  <a:pt x="225984" y="338888"/>
                  <a:pt x="214156" y="354679"/>
                  <a:pt x="192805" y="342377"/>
                </a:cubicBezTo>
                <a:cubicBezTo>
                  <a:pt x="159409" y="323294"/>
                  <a:pt x="126250" y="304072"/>
                  <a:pt x="93327" y="284713"/>
                </a:cubicBezTo>
                <a:cubicBezTo>
                  <a:pt x="92322" y="284103"/>
                  <a:pt x="91013" y="284422"/>
                  <a:pt x="90402" y="285427"/>
                </a:cubicBezTo>
                <a:cubicBezTo>
                  <a:pt x="90391" y="285445"/>
                  <a:pt x="90381" y="285464"/>
                  <a:pt x="90370" y="285482"/>
                </a:cubicBezTo>
                <a:lnTo>
                  <a:pt x="50390" y="354679"/>
                </a:lnTo>
                <a:cubicBezTo>
                  <a:pt x="49578" y="356058"/>
                  <a:pt x="50061" y="357848"/>
                  <a:pt x="51469" y="358675"/>
                </a:cubicBezTo>
                <a:cubicBezTo>
                  <a:pt x="51484" y="358684"/>
                  <a:pt x="51499" y="358692"/>
                  <a:pt x="51513" y="358701"/>
                </a:cubicBezTo>
                <a:cubicBezTo>
                  <a:pt x="82465" y="376325"/>
                  <a:pt x="115072" y="395152"/>
                  <a:pt x="149335" y="415182"/>
                </a:cubicBezTo>
                <a:cubicBezTo>
                  <a:pt x="165363" y="424586"/>
                  <a:pt x="169207" y="444221"/>
                  <a:pt x="151997" y="454039"/>
                </a:cubicBezTo>
                <a:cubicBezTo>
                  <a:pt x="102948" y="481875"/>
                  <a:pt x="77635" y="496247"/>
                  <a:pt x="76058" y="497154"/>
                </a:cubicBezTo>
                <a:cubicBezTo>
                  <a:pt x="74266" y="498167"/>
                  <a:pt x="73570" y="500325"/>
                  <a:pt x="74503" y="501974"/>
                </a:cubicBezTo>
                <a:cubicBezTo>
                  <a:pt x="74508" y="501984"/>
                  <a:pt x="74514" y="501994"/>
                  <a:pt x="74520" y="502003"/>
                </a:cubicBezTo>
                <a:lnTo>
                  <a:pt x="103618" y="552866"/>
                </a:lnTo>
                <a:cubicBezTo>
                  <a:pt x="104604" y="554640"/>
                  <a:pt x="106003" y="555015"/>
                  <a:pt x="107817" y="553990"/>
                </a:cubicBezTo>
                <a:lnTo>
                  <a:pt x="237162" y="479293"/>
                </a:lnTo>
                <a:cubicBezTo>
                  <a:pt x="244225" y="475192"/>
                  <a:pt x="252946" y="475169"/>
                  <a:pt x="260051" y="479233"/>
                </a:cubicBezTo>
                <a:cubicBezTo>
                  <a:pt x="328301" y="518465"/>
                  <a:pt x="388430" y="553418"/>
                  <a:pt x="440436" y="584093"/>
                </a:cubicBezTo>
                <a:cubicBezTo>
                  <a:pt x="445640" y="587129"/>
                  <a:pt x="448243" y="592511"/>
                  <a:pt x="448243" y="600239"/>
                </a:cubicBezTo>
                <a:close/>
                <a:moveTo>
                  <a:pt x="469712" y="297192"/>
                </a:moveTo>
                <a:cubicBezTo>
                  <a:pt x="469697" y="296531"/>
                  <a:pt x="469338" y="295926"/>
                  <a:pt x="468765" y="295595"/>
                </a:cubicBezTo>
                <a:lnTo>
                  <a:pt x="334689" y="218177"/>
                </a:lnTo>
                <a:cubicBezTo>
                  <a:pt x="333784" y="217655"/>
                  <a:pt x="332626" y="217964"/>
                  <a:pt x="332103" y="218869"/>
                </a:cubicBezTo>
                <a:cubicBezTo>
                  <a:pt x="331944" y="219145"/>
                  <a:pt x="331857" y="219456"/>
                  <a:pt x="331850" y="219774"/>
                </a:cubicBezTo>
                <a:lnTo>
                  <a:pt x="331850" y="374787"/>
                </a:lnTo>
                <a:cubicBezTo>
                  <a:pt x="331865" y="375448"/>
                  <a:pt x="332223" y="376054"/>
                  <a:pt x="332796" y="376384"/>
                </a:cubicBezTo>
                <a:lnTo>
                  <a:pt x="466873" y="453802"/>
                </a:lnTo>
                <a:cubicBezTo>
                  <a:pt x="467778" y="454325"/>
                  <a:pt x="468935" y="454015"/>
                  <a:pt x="469458" y="453110"/>
                </a:cubicBezTo>
                <a:cubicBezTo>
                  <a:pt x="469617" y="452835"/>
                  <a:pt x="469705" y="452523"/>
                  <a:pt x="469712" y="452205"/>
                </a:cubicBezTo>
                <a:lnTo>
                  <a:pt x="469712" y="297192"/>
                </a:lnTo>
                <a:close/>
                <a:moveTo>
                  <a:pt x="774119" y="219715"/>
                </a:moveTo>
                <a:cubicBezTo>
                  <a:pt x="774096" y="218670"/>
                  <a:pt x="773230" y="217842"/>
                  <a:pt x="772185" y="217865"/>
                </a:cubicBezTo>
                <a:cubicBezTo>
                  <a:pt x="771867" y="217872"/>
                  <a:pt x="771556" y="217959"/>
                  <a:pt x="771280" y="218118"/>
                </a:cubicBezTo>
                <a:lnTo>
                  <a:pt x="637204" y="295536"/>
                </a:lnTo>
                <a:cubicBezTo>
                  <a:pt x="636631" y="295867"/>
                  <a:pt x="636272" y="296472"/>
                  <a:pt x="636257" y="297133"/>
                </a:cubicBezTo>
                <a:lnTo>
                  <a:pt x="636258" y="452146"/>
                </a:lnTo>
                <a:cubicBezTo>
                  <a:pt x="636281" y="453191"/>
                  <a:pt x="637147" y="454019"/>
                  <a:pt x="638191" y="453996"/>
                </a:cubicBezTo>
                <a:cubicBezTo>
                  <a:pt x="638510" y="453989"/>
                  <a:pt x="638821" y="453902"/>
                  <a:pt x="639096" y="453743"/>
                </a:cubicBezTo>
                <a:lnTo>
                  <a:pt x="773173" y="376325"/>
                </a:lnTo>
                <a:cubicBezTo>
                  <a:pt x="773746" y="375995"/>
                  <a:pt x="774104" y="375389"/>
                  <a:pt x="774119" y="374728"/>
                </a:cubicBezTo>
                <a:lnTo>
                  <a:pt x="774119" y="219715"/>
                </a:lnTo>
                <a:close/>
                <a:moveTo>
                  <a:pt x="249878" y="521225"/>
                </a:moveTo>
                <a:cubicBezTo>
                  <a:pt x="249253" y="520877"/>
                  <a:pt x="248492" y="520877"/>
                  <a:pt x="247867" y="521225"/>
                </a:cubicBezTo>
                <a:lnTo>
                  <a:pt x="113968" y="598524"/>
                </a:lnTo>
                <a:cubicBezTo>
                  <a:pt x="112988" y="599113"/>
                  <a:pt x="112671" y="600385"/>
                  <a:pt x="113260" y="601365"/>
                </a:cubicBezTo>
                <a:cubicBezTo>
                  <a:pt x="113434" y="601655"/>
                  <a:pt x="113678" y="601898"/>
                  <a:pt x="113968" y="602073"/>
                </a:cubicBezTo>
                <a:lnTo>
                  <a:pt x="247867" y="679372"/>
                </a:lnTo>
                <a:cubicBezTo>
                  <a:pt x="248492" y="679720"/>
                  <a:pt x="249253" y="679720"/>
                  <a:pt x="249878" y="679372"/>
                </a:cubicBezTo>
                <a:lnTo>
                  <a:pt x="383777" y="602073"/>
                </a:lnTo>
                <a:cubicBezTo>
                  <a:pt x="384757" y="601484"/>
                  <a:pt x="385074" y="600212"/>
                  <a:pt x="384485" y="599232"/>
                </a:cubicBezTo>
                <a:cubicBezTo>
                  <a:pt x="384311" y="598942"/>
                  <a:pt x="384068" y="598699"/>
                  <a:pt x="383777" y="598524"/>
                </a:cubicBezTo>
                <a:lnTo>
                  <a:pt x="249878" y="521225"/>
                </a:lnTo>
                <a:close/>
                <a:moveTo>
                  <a:pt x="858516" y="521106"/>
                </a:moveTo>
                <a:cubicBezTo>
                  <a:pt x="857967" y="520789"/>
                  <a:pt x="857291" y="520789"/>
                  <a:pt x="856742" y="521106"/>
                </a:cubicBezTo>
                <a:lnTo>
                  <a:pt x="722251" y="598761"/>
                </a:lnTo>
                <a:cubicBezTo>
                  <a:pt x="721402" y="599250"/>
                  <a:pt x="721110" y="600334"/>
                  <a:pt x="721598" y="601184"/>
                </a:cubicBezTo>
                <a:cubicBezTo>
                  <a:pt x="721755" y="601455"/>
                  <a:pt x="721980" y="601680"/>
                  <a:pt x="722251" y="601836"/>
                </a:cubicBezTo>
                <a:lnTo>
                  <a:pt x="856564" y="679372"/>
                </a:lnTo>
                <a:cubicBezTo>
                  <a:pt x="857113" y="679689"/>
                  <a:pt x="857790" y="679689"/>
                  <a:pt x="858338" y="679372"/>
                </a:cubicBezTo>
                <a:lnTo>
                  <a:pt x="992829" y="601718"/>
                </a:lnTo>
                <a:cubicBezTo>
                  <a:pt x="993678" y="601229"/>
                  <a:pt x="993970" y="600144"/>
                  <a:pt x="993482" y="599295"/>
                </a:cubicBezTo>
                <a:cubicBezTo>
                  <a:pt x="993325" y="599024"/>
                  <a:pt x="993100" y="598799"/>
                  <a:pt x="992829" y="598642"/>
                </a:cubicBezTo>
                <a:lnTo>
                  <a:pt x="858516" y="521106"/>
                </a:lnTo>
                <a:close/>
                <a:moveTo>
                  <a:pt x="469771" y="748451"/>
                </a:moveTo>
                <a:cubicBezTo>
                  <a:pt x="469748" y="747406"/>
                  <a:pt x="468882" y="746578"/>
                  <a:pt x="467837" y="746601"/>
                </a:cubicBezTo>
                <a:cubicBezTo>
                  <a:pt x="467519" y="746608"/>
                  <a:pt x="467207" y="746695"/>
                  <a:pt x="466932" y="746854"/>
                </a:cubicBezTo>
                <a:lnTo>
                  <a:pt x="332796" y="824272"/>
                </a:lnTo>
                <a:cubicBezTo>
                  <a:pt x="332223" y="824602"/>
                  <a:pt x="331865" y="825208"/>
                  <a:pt x="331850" y="825869"/>
                </a:cubicBezTo>
                <a:lnTo>
                  <a:pt x="331850" y="980823"/>
                </a:lnTo>
                <a:cubicBezTo>
                  <a:pt x="331873" y="981868"/>
                  <a:pt x="332739" y="982696"/>
                  <a:pt x="333784" y="982673"/>
                </a:cubicBezTo>
                <a:cubicBezTo>
                  <a:pt x="334102" y="982666"/>
                  <a:pt x="334413" y="982579"/>
                  <a:pt x="334689" y="982420"/>
                </a:cubicBezTo>
                <a:lnTo>
                  <a:pt x="468824" y="905002"/>
                </a:lnTo>
                <a:cubicBezTo>
                  <a:pt x="469397" y="904671"/>
                  <a:pt x="469756" y="904066"/>
                  <a:pt x="469771" y="903405"/>
                </a:cubicBezTo>
                <a:lnTo>
                  <a:pt x="469771" y="748451"/>
                </a:lnTo>
                <a:close/>
                <a:moveTo>
                  <a:pt x="636198" y="903346"/>
                </a:moveTo>
                <a:cubicBezTo>
                  <a:pt x="636195" y="904058"/>
                  <a:pt x="636581" y="904716"/>
                  <a:pt x="637204" y="905061"/>
                </a:cubicBezTo>
                <a:lnTo>
                  <a:pt x="771221" y="982360"/>
                </a:lnTo>
                <a:cubicBezTo>
                  <a:pt x="772164" y="982883"/>
                  <a:pt x="773352" y="982543"/>
                  <a:pt x="773875" y="981601"/>
                </a:cubicBezTo>
                <a:cubicBezTo>
                  <a:pt x="774027" y="981326"/>
                  <a:pt x="774111" y="981019"/>
                  <a:pt x="774119" y="980704"/>
                </a:cubicBezTo>
                <a:lnTo>
                  <a:pt x="774119" y="825928"/>
                </a:lnTo>
                <a:cubicBezTo>
                  <a:pt x="774122" y="825216"/>
                  <a:pt x="773737" y="824558"/>
                  <a:pt x="773114" y="824213"/>
                </a:cubicBezTo>
                <a:lnTo>
                  <a:pt x="639096" y="746913"/>
                </a:lnTo>
                <a:cubicBezTo>
                  <a:pt x="638154" y="746390"/>
                  <a:pt x="636966" y="746730"/>
                  <a:pt x="636443" y="747673"/>
                </a:cubicBezTo>
                <a:cubicBezTo>
                  <a:pt x="636290" y="747948"/>
                  <a:pt x="636206" y="748255"/>
                  <a:pt x="636198" y="748569"/>
                </a:cubicBezTo>
                <a:lnTo>
                  <a:pt x="636198" y="903346"/>
                </a:lnTo>
                <a:close/>
              </a:path>
            </a:pathLst>
          </a:custGeom>
          <a:solidFill>
            <a:schemeClr val="tx1"/>
          </a:solidFill>
          <a:ln w="590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35" name="Snow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CBD5C81-210C-EF41-95B9-61FF628E8A6C}"/>
              </a:ext>
            </a:extLst>
          </p:cNvPr>
          <p:cNvGrpSpPr>
            <a:grpSpLocks noChangeAspect="1"/>
          </p:cNvGrpSpPr>
          <p:nvPr/>
        </p:nvGrpSpPr>
        <p:grpSpPr>
          <a:xfrm>
            <a:off x="9502614" y="2325208"/>
            <a:ext cx="1014222" cy="1009202"/>
            <a:chOff x="20534703" y="7136449"/>
            <a:chExt cx="1924050" cy="1914524"/>
          </a:xfrm>
          <a:solidFill>
            <a:schemeClr val="tx1"/>
          </a:solidFill>
        </p:grpSpPr>
        <p:sp>
          <p:nvSpPr>
            <p:cNvPr id="36" name="Free-form: Shape 3656">
              <a:extLst>
                <a:ext uri="{FF2B5EF4-FFF2-40B4-BE49-F238E27FC236}">
                  <a16:creationId xmlns:a16="http://schemas.microsoft.com/office/drawing/2014/main" id="{A0C1C393-491C-350F-A123-318FEA11307D}"/>
                </a:ext>
              </a:extLst>
            </p:cNvPr>
            <p:cNvSpPr/>
            <p:nvPr/>
          </p:nvSpPr>
          <p:spPr>
            <a:xfrm>
              <a:off x="20534703" y="7136449"/>
              <a:ext cx="1924050" cy="1162145"/>
            </a:xfrm>
            <a:custGeom>
              <a:avLst/>
              <a:gdLst>
                <a:gd name="connsiteX0" fmla="*/ 982694 w 1924050"/>
                <a:gd name="connsiteY0" fmla="*/ 0 h 1162145"/>
                <a:gd name="connsiteX1" fmla="*/ 1459516 w 1924050"/>
                <a:gd name="connsiteY1" fmla="*/ 284988 h 1162145"/>
                <a:gd name="connsiteX2" fmla="*/ 1466183 w 1924050"/>
                <a:gd name="connsiteY2" fmla="*/ 291084 h 1162145"/>
                <a:gd name="connsiteX3" fmla="*/ 1618107 w 1924050"/>
                <a:gd name="connsiteY3" fmla="*/ 544830 h 1162145"/>
                <a:gd name="connsiteX4" fmla="*/ 1622679 w 1924050"/>
                <a:gd name="connsiteY4" fmla="*/ 550069 h 1162145"/>
                <a:gd name="connsiteX5" fmla="*/ 1815275 w 1924050"/>
                <a:gd name="connsiteY5" fmla="*/ 627888 h 1162145"/>
                <a:gd name="connsiteX6" fmla="*/ 1924050 w 1924050"/>
                <a:gd name="connsiteY6" fmla="*/ 844391 h 1162145"/>
                <a:gd name="connsiteX7" fmla="*/ 1924050 w 1924050"/>
                <a:gd name="connsiteY7" fmla="*/ 866299 h 1162145"/>
                <a:gd name="connsiteX8" fmla="*/ 1867186 w 1924050"/>
                <a:gd name="connsiteY8" fmla="*/ 1026605 h 1162145"/>
                <a:gd name="connsiteX9" fmla="*/ 1691735 w 1924050"/>
                <a:gd name="connsiteY9" fmla="*/ 1147858 h 1162145"/>
                <a:gd name="connsiteX10" fmla="*/ 1502569 w 1924050"/>
                <a:gd name="connsiteY10" fmla="*/ 1161860 h 1162145"/>
                <a:gd name="connsiteX11" fmla="*/ 390144 w 1924050"/>
                <a:gd name="connsiteY11" fmla="*/ 1161860 h 1162145"/>
                <a:gd name="connsiteX12" fmla="*/ 258413 w 1924050"/>
                <a:gd name="connsiteY12" fmla="*/ 1153192 h 1162145"/>
                <a:gd name="connsiteX13" fmla="*/ 136208 w 1924050"/>
                <a:gd name="connsiteY13" fmla="*/ 1097375 h 1162145"/>
                <a:gd name="connsiteX14" fmla="*/ 0 w 1924050"/>
                <a:gd name="connsiteY14" fmla="*/ 840486 h 1162145"/>
                <a:gd name="connsiteX15" fmla="*/ 0 w 1924050"/>
                <a:gd name="connsiteY15" fmla="*/ 812959 h 1162145"/>
                <a:gd name="connsiteX16" fmla="*/ 212027 w 1924050"/>
                <a:gd name="connsiteY16" fmla="*/ 516160 h 1162145"/>
                <a:gd name="connsiteX17" fmla="*/ 214694 w 1924050"/>
                <a:gd name="connsiteY17" fmla="*/ 509778 h 1162145"/>
                <a:gd name="connsiteX18" fmla="*/ 298037 w 1924050"/>
                <a:gd name="connsiteY18" fmla="*/ 229743 h 1162145"/>
                <a:gd name="connsiteX19" fmla="*/ 526256 w 1924050"/>
                <a:gd name="connsiteY19" fmla="*/ 197644 h 1162145"/>
                <a:gd name="connsiteX20" fmla="*/ 533972 w 1924050"/>
                <a:gd name="connsiteY20" fmla="*/ 195644 h 1162145"/>
                <a:gd name="connsiteX21" fmla="*/ 944880 w 1924050"/>
                <a:gd name="connsiteY21" fmla="*/ 0 h 1162145"/>
                <a:gd name="connsiteX22" fmla="*/ 982694 w 1924050"/>
                <a:gd name="connsiteY22" fmla="*/ 0 h 1162145"/>
                <a:gd name="connsiteX23" fmla="*/ 292703 w 1924050"/>
                <a:gd name="connsiteY23" fmla="*/ 551212 h 1162145"/>
                <a:gd name="connsiteX24" fmla="*/ 217265 w 1924050"/>
                <a:gd name="connsiteY24" fmla="*/ 576644 h 1162145"/>
                <a:gd name="connsiteX25" fmla="*/ 91726 w 1924050"/>
                <a:gd name="connsiteY25" fmla="*/ 694277 h 1162145"/>
                <a:gd name="connsiteX26" fmla="*/ 267272 w 1924050"/>
                <a:gd name="connsiteY26" fmla="*/ 1096709 h 1162145"/>
                <a:gd name="connsiteX27" fmla="*/ 386048 w 1924050"/>
                <a:gd name="connsiteY27" fmla="*/ 1104710 h 1162145"/>
                <a:gd name="connsiteX28" fmla="*/ 1588484 w 1924050"/>
                <a:gd name="connsiteY28" fmla="*/ 1104710 h 1162145"/>
                <a:gd name="connsiteX29" fmla="*/ 1777079 w 1924050"/>
                <a:gd name="connsiteY29" fmla="*/ 1038701 h 1162145"/>
                <a:gd name="connsiteX30" fmla="*/ 1845278 w 1924050"/>
                <a:gd name="connsiteY30" fmla="*/ 950214 h 1162145"/>
                <a:gd name="connsiteX31" fmla="*/ 1854613 w 1924050"/>
                <a:gd name="connsiteY31" fmla="*/ 784384 h 1162145"/>
                <a:gd name="connsiteX32" fmla="*/ 1762220 w 1924050"/>
                <a:gd name="connsiteY32" fmla="*/ 659606 h 1162145"/>
                <a:gd name="connsiteX33" fmla="*/ 1550861 w 1924050"/>
                <a:gd name="connsiteY33" fmla="*/ 606076 h 1162145"/>
                <a:gd name="connsiteX34" fmla="*/ 1546860 w 1924050"/>
                <a:gd name="connsiteY34" fmla="*/ 601218 h 1162145"/>
                <a:gd name="connsiteX35" fmla="*/ 1424083 w 1924050"/>
                <a:gd name="connsiteY35" fmla="*/ 335756 h 1162145"/>
                <a:gd name="connsiteX36" fmla="*/ 1417606 w 1924050"/>
                <a:gd name="connsiteY36" fmla="*/ 329851 h 1162145"/>
                <a:gd name="connsiteX37" fmla="*/ 1089755 w 1924050"/>
                <a:gd name="connsiteY37" fmla="*/ 73057 h 1162145"/>
                <a:gd name="connsiteX38" fmla="*/ 835724 w 1924050"/>
                <a:gd name="connsiteY38" fmla="*/ 74009 h 1162145"/>
                <a:gd name="connsiteX39" fmla="*/ 560261 w 1924050"/>
                <a:gd name="connsiteY39" fmla="*/ 254508 h 1162145"/>
                <a:gd name="connsiteX40" fmla="*/ 531686 w 1924050"/>
                <a:gd name="connsiteY40" fmla="*/ 261461 h 1162145"/>
                <a:gd name="connsiteX41" fmla="*/ 362903 w 1924050"/>
                <a:gd name="connsiteY41" fmla="*/ 257461 h 1162145"/>
                <a:gd name="connsiteX42" fmla="*/ 261747 w 1924050"/>
                <a:gd name="connsiteY42" fmla="*/ 473678 h 1162145"/>
                <a:gd name="connsiteX43" fmla="*/ 295085 w 1924050"/>
                <a:gd name="connsiteY43" fmla="*/ 545592 h 1162145"/>
                <a:gd name="connsiteX44" fmla="*/ 292703 w 1924050"/>
                <a:gd name="connsiteY44" fmla="*/ 551212 h 1162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924050" h="1162145">
                  <a:moveTo>
                    <a:pt x="982694" y="0"/>
                  </a:moveTo>
                  <a:cubicBezTo>
                    <a:pt x="1194276" y="12256"/>
                    <a:pt x="1353217" y="107252"/>
                    <a:pt x="1459516" y="284988"/>
                  </a:cubicBezTo>
                  <a:cubicBezTo>
                    <a:pt x="1461103" y="287719"/>
                    <a:pt x="1463326" y="289751"/>
                    <a:pt x="1466183" y="291084"/>
                  </a:cubicBezTo>
                  <a:cubicBezTo>
                    <a:pt x="1572228" y="341249"/>
                    <a:pt x="1622870" y="425831"/>
                    <a:pt x="1618107" y="544830"/>
                  </a:cubicBezTo>
                  <a:cubicBezTo>
                    <a:pt x="1617980" y="548005"/>
                    <a:pt x="1619504" y="549751"/>
                    <a:pt x="1622679" y="550069"/>
                  </a:cubicBezTo>
                  <a:cubicBezTo>
                    <a:pt x="1697482" y="556863"/>
                    <a:pt x="1761681" y="582803"/>
                    <a:pt x="1815275" y="627888"/>
                  </a:cubicBezTo>
                  <a:cubicBezTo>
                    <a:pt x="1880743" y="683133"/>
                    <a:pt x="1917002" y="755301"/>
                    <a:pt x="1924050" y="844391"/>
                  </a:cubicBezTo>
                  <a:lnTo>
                    <a:pt x="1924050" y="866299"/>
                  </a:lnTo>
                  <a:cubicBezTo>
                    <a:pt x="1919351" y="929291"/>
                    <a:pt x="1900396" y="982726"/>
                    <a:pt x="1867186" y="1026605"/>
                  </a:cubicBezTo>
                  <a:cubicBezTo>
                    <a:pt x="1820958" y="1087692"/>
                    <a:pt x="1762474" y="1128109"/>
                    <a:pt x="1691735" y="1147858"/>
                  </a:cubicBezTo>
                  <a:cubicBezTo>
                    <a:pt x="1658588" y="1157129"/>
                    <a:pt x="1595533" y="1161796"/>
                    <a:pt x="1502569" y="1161860"/>
                  </a:cubicBezTo>
                  <a:cubicBezTo>
                    <a:pt x="1131792" y="1162241"/>
                    <a:pt x="760984" y="1162241"/>
                    <a:pt x="390144" y="1161860"/>
                  </a:cubicBezTo>
                  <a:cubicBezTo>
                    <a:pt x="327724" y="1161796"/>
                    <a:pt x="283813" y="1158907"/>
                    <a:pt x="258413" y="1153192"/>
                  </a:cubicBezTo>
                  <a:cubicBezTo>
                    <a:pt x="213074" y="1143095"/>
                    <a:pt x="172339" y="1124490"/>
                    <a:pt x="136208" y="1097375"/>
                  </a:cubicBezTo>
                  <a:cubicBezTo>
                    <a:pt x="53277" y="1035018"/>
                    <a:pt x="7874" y="949389"/>
                    <a:pt x="0" y="840486"/>
                  </a:cubicBezTo>
                  <a:lnTo>
                    <a:pt x="0" y="812959"/>
                  </a:lnTo>
                  <a:cubicBezTo>
                    <a:pt x="12954" y="671417"/>
                    <a:pt x="83630" y="572484"/>
                    <a:pt x="212027" y="516160"/>
                  </a:cubicBezTo>
                  <a:cubicBezTo>
                    <a:pt x="214948" y="514890"/>
                    <a:pt x="215837" y="512763"/>
                    <a:pt x="214694" y="509778"/>
                  </a:cubicBezTo>
                  <a:cubicBezTo>
                    <a:pt x="175355" y="409575"/>
                    <a:pt x="211741" y="291751"/>
                    <a:pt x="298037" y="229743"/>
                  </a:cubicBezTo>
                  <a:cubicBezTo>
                    <a:pt x="367062" y="180150"/>
                    <a:pt x="443135" y="169450"/>
                    <a:pt x="526256" y="197644"/>
                  </a:cubicBezTo>
                  <a:cubicBezTo>
                    <a:pt x="529304" y="198660"/>
                    <a:pt x="531876" y="197993"/>
                    <a:pt x="533972" y="195644"/>
                  </a:cubicBezTo>
                  <a:cubicBezTo>
                    <a:pt x="642112" y="74105"/>
                    <a:pt x="779082" y="8890"/>
                    <a:pt x="944880" y="0"/>
                  </a:cubicBezTo>
                  <a:lnTo>
                    <a:pt x="982694" y="0"/>
                  </a:lnTo>
                  <a:close/>
                  <a:moveTo>
                    <a:pt x="292703" y="551212"/>
                  </a:moveTo>
                  <a:cubicBezTo>
                    <a:pt x="252127" y="563467"/>
                    <a:pt x="226981" y="571945"/>
                    <a:pt x="217265" y="576644"/>
                  </a:cubicBezTo>
                  <a:cubicBezTo>
                    <a:pt x="161512" y="603695"/>
                    <a:pt x="119666" y="642906"/>
                    <a:pt x="91726" y="694277"/>
                  </a:cubicBezTo>
                  <a:cubicBezTo>
                    <a:pt x="6572" y="851249"/>
                    <a:pt x="90297" y="1054037"/>
                    <a:pt x="267272" y="1096709"/>
                  </a:cubicBezTo>
                  <a:cubicBezTo>
                    <a:pt x="289243" y="1102043"/>
                    <a:pt x="328835" y="1104710"/>
                    <a:pt x="386048" y="1104710"/>
                  </a:cubicBezTo>
                  <a:cubicBezTo>
                    <a:pt x="914622" y="1105091"/>
                    <a:pt x="1315434" y="1105091"/>
                    <a:pt x="1588484" y="1104710"/>
                  </a:cubicBezTo>
                  <a:cubicBezTo>
                    <a:pt x="1659795" y="1104646"/>
                    <a:pt x="1722660" y="1082643"/>
                    <a:pt x="1777079" y="1038701"/>
                  </a:cubicBezTo>
                  <a:cubicBezTo>
                    <a:pt x="1808004" y="1013809"/>
                    <a:pt x="1830737" y="984313"/>
                    <a:pt x="1845278" y="950214"/>
                  </a:cubicBezTo>
                  <a:cubicBezTo>
                    <a:pt x="1869154" y="894525"/>
                    <a:pt x="1872266" y="839248"/>
                    <a:pt x="1854613" y="784384"/>
                  </a:cubicBezTo>
                  <a:cubicBezTo>
                    <a:pt x="1838674" y="735044"/>
                    <a:pt x="1807877" y="693452"/>
                    <a:pt x="1762220" y="659606"/>
                  </a:cubicBezTo>
                  <a:cubicBezTo>
                    <a:pt x="1703451" y="616077"/>
                    <a:pt x="1628966" y="600361"/>
                    <a:pt x="1550861" y="606076"/>
                  </a:cubicBezTo>
                  <a:cubicBezTo>
                    <a:pt x="1547178" y="606330"/>
                    <a:pt x="1545844" y="604711"/>
                    <a:pt x="1546860" y="601218"/>
                  </a:cubicBezTo>
                  <a:cubicBezTo>
                    <a:pt x="1584325" y="472757"/>
                    <a:pt x="1543399" y="384270"/>
                    <a:pt x="1424083" y="335756"/>
                  </a:cubicBezTo>
                  <a:cubicBezTo>
                    <a:pt x="1421225" y="334550"/>
                    <a:pt x="1419066" y="332581"/>
                    <a:pt x="1417606" y="329851"/>
                  </a:cubicBezTo>
                  <a:cubicBezTo>
                    <a:pt x="1347248" y="195167"/>
                    <a:pt x="1237964" y="109569"/>
                    <a:pt x="1089755" y="73057"/>
                  </a:cubicBezTo>
                  <a:cubicBezTo>
                    <a:pt x="1004665" y="52038"/>
                    <a:pt x="919988" y="52356"/>
                    <a:pt x="835724" y="74009"/>
                  </a:cubicBezTo>
                  <a:cubicBezTo>
                    <a:pt x="722567" y="103092"/>
                    <a:pt x="630746" y="163259"/>
                    <a:pt x="560261" y="254508"/>
                  </a:cubicBezTo>
                  <a:cubicBezTo>
                    <a:pt x="553516" y="263195"/>
                    <a:pt x="541668" y="266078"/>
                    <a:pt x="531686" y="261461"/>
                  </a:cubicBezTo>
                  <a:cubicBezTo>
                    <a:pt x="471805" y="233521"/>
                    <a:pt x="415544" y="232188"/>
                    <a:pt x="362903" y="257461"/>
                  </a:cubicBezTo>
                  <a:cubicBezTo>
                    <a:pt x="279273" y="297466"/>
                    <a:pt x="241840" y="382905"/>
                    <a:pt x="261747" y="473678"/>
                  </a:cubicBezTo>
                  <a:cubicBezTo>
                    <a:pt x="263652" y="482378"/>
                    <a:pt x="274765" y="506349"/>
                    <a:pt x="295085" y="545592"/>
                  </a:cubicBezTo>
                  <a:cubicBezTo>
                    <a:pt x="296545" y="548450"/>
                    <a:pt x="295751" y="550323"/>
                    <a:pt x="292703" y="551212"/>
                  </a:cubicBezTo>
                  <a:close/>
                </a:path>
              </a:pathLst>
            </a:custGeom>
            <a:grp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-form: Shape 3657">
              <a:extLst>
                <a:ext uri="{FF2B5EF4-FFF2-40B4-BE49-F238E27FC236}">
                  <a16:creationId xmlns:a16="http://schemas.microsoft.com/office/drawing/2014/main" id="{4EAD3B01-ADED-B6DB-67DE-9A99FAE569C0}"/>
                </a:ext>
              </a:extLst>
            </p:cNvPr>
            <p:cNvSpPr/>
            <p:nvPr/>
          </p:nvSpPr>
          <p:spPr>
            <a:xfrm>
              <a:off x="21412050" y="8451560"/>
              <a:ext cx="189214" cy="189362"/>
            </a:xfrm>
            <a:custGeom>
              <a:avLst/>
              <a:gdLst>
                <a:gd name="connsiteX0" fmla="*/ 75152 w 189214"/>
                <a:gd name="connsiteY0" fmla="*/ 49250 h 189362"/>
                <a:gd name="connsiteX1" fmla="*/ 75152 w 189214"/>
                <a:gd name="connsiteY1" fmla="*/ 11435 h 189362"/>
                <a:gd name="connsiteX2" fmla="*/ 86296 w 189214"/>
                <a:gd name="connsiteY2" fmla="*/ 101 h 189362"/>
                <a:gd name="connsiteX3" fmla="*/ 90202 w 189214"/>
                <a:gd name="connsiteY3" fmla="*/ 5 h 189362"/>
                <a:gd name="connsiteX4" fmla="*/ 104008 w 189214"/>
                <a:gd name="connsiteY4" fmla="*/ 13145 h 189362"/>
                <a:gd name="connsiteX5" fmla="*/ 104013 w 189214"/>
                <a:gd name="connsiteY5" fmla="*/ 13531 h 189362"/>
                <a:gd name="connsiteX6" fmla="*/ 104013 w 189214"/>
                <a:gd name="connsiteY6" fmla="*/ 48678 h 189362"/>
                <a:gd name="connsiteX7" fmla="*/ 109347 w 189214"/>
                <a:gd name="connsiteY7" fmla="*/ 50869 h 189362"/>
                <a:gd name="connsiteX8" fmla="*/ 138208 w 189214"/>
                <a:gd name="connsiteY8" fmla="*/ 22008 h 189362"/>
                <a:gd name="connsiteX9" fmla="*/ 155067 w 189214"/>
                <a:gd name="connsiteY9" fmla="*/ 22008 h 189362"/>
                <a:gd name="connsiteX10" fmla="*/ 158686 w 189214"/>
                <a:gd name="connsiteY10" fmla="*/ 25628 h 189362"/>
                <a:gd name="connsiteX11" fmla="*/ 158686 w 189214"/>
                <a:gd name="connsiteY11" fmla="*/ 40772 h 189362"/>
                <a:gd name="connsiteX12" fmla="*/ 120586 w 189214"/>
                <a:gd name="connsiteY12" fmla="*/ 78872 h 189362"/>
                <a:gd name="connsiteX13" fmla="*/ 123158 w 189214"/>
                <a:gd name="connsiteY13" fmla="*/ 85064 h 189362"/>
                <a:gd name="connsiteX14" fmla="*/ 175165 w 189214"/>
                <a:gd name="connsiteY14" fmla="*/ 85254 h 189362"/>
                <a:gd name="connsiteX15" fmla="*/ 189167 w 189214"/>
                <a:gd name="connsiteY15" fmla="*/ 98589 h 189362"/>
                <a:gd name="connsiteX16" fmla="*/ 188023 w 189214"/>
                <a:gd name="connsiteY16" fmla="*/ 104304 h 189362"/>
                <a:gd name="connsiteX17" fmla="*/ 174403 w 189214"/>
                <a:gd name="connsiteY17" fmla="*/ 113639 h 189362"/>
                <a:gd name="connsiteX18" fmla="*/ 142113 w 189214"/>
                <a:gd name="connsiteY18" fmla="*/ 113639 h 189362"/>
                <a:gd name="connsiteX19" fmla="*/ 139351 w 189214"/>
                <a:gd name="connsiteY19" fmla="*/ 120306 h 189362"/>
                <a:gd name="connsiteX20" fmla="*/ 169164 w 189214"/>
                <a:gd name="connsiteY20" fmla="*/ 150119 h 189362"/>
                <a:gd name="connsiteX21" fmla="*/ 169182 w 189214"/>
                <a:gd name="connsiteY21" fmla="*/ 162580 h 189362"/>
                <a:gd name="connsiteX22" fmla="*/ 169164 w 189214"/>
                <a:gd name="connsiteY22" fmla="*/ 162597 h 189362"/>
                <a:gd name="connsiteX23" fmla="*/ 162211 w 189214"/>
                <a:gd name="connsiteY23" fmla="*/ 169646 h 189362"/>
                <a:gd name="connsiteX24" fmla="*/ 153257 w 189214"/>
                <a:gd name="connsiteY24" fmla="*/ 168407 h 189362"/>
                <a:gd name="connsiteX25" fmla="*/ 145066 w 189214"/>
                <a:gd name="connsiteY25" fmla="*/ 161168 h 189362"/>
                <a:gd name="connsiteX26" fmla="*/ 111538 w 189214"/>
                <a:gd name="connsiteY26" fmla="*/ 130212 h 189362"/>
                <a:gd name="connsiteX27" fmla="*/ 103918 w 189214"/>
                <a:gd name="connsiteY27" fmla="*/ 133070 h 189362"/>
                <a:gd name="connsiteX28" fmla="*/ 103918 w 189214"/>
                <a:gd name="connsiteY28" fmla="*/ 176694 h 189362"/>
                <a:gd name="connsiteX29" fmla="*/ 91154 w 189214"/>
                <a:gd name="connsiteY29" fmla="*/ 189362 h 189362"/>
                <a:gd name="connsiteX30" fmla="*/ 85915 w 189214"/>
                <a:gd name="connsiteY30" fmla="*/ 189362 h 189362"/>
                <a:gd name="connsiteX31" fmla="*/ 75152 w 189214"/>
                <a:gd name="connsiteY31" fmla="*/ 178694 h 189362"/>
                <a:gd name="connsiteX32" fmla="*/ 75152 w 189214"/>
                <a:gd name="connsiteY32" fmla="*/ 140594 h 189362"/>
                <a:gd name="connsiteX33" fmla="*/ 69533 w 189214"/>
                <a:gd name="connsiteY33" fmla="*/ 138213 h 189362"/>
                <a:gd name="connsiteX34" fmla="*/ 41243 w 189214"/>
                <a:gd name="connsiteY34" fmla="*/ 166502 h 189362"/>
                <a:gd name="connsiteX35" fmla="*/ 26289 w 189214"/>
                <a:gd name="connsiteY35" fmla="*/ 168693 h 189362"/>
                <a:gd name="connsiteX36" fmla="*/ 22003 w 189214"/>
                <a:gd name="connsiteY36" fmla="*/ 165359 h 189362"/>
                <a:gd name="connsiteX37" fmla="*/ 22955 w 189214"/>
                <a:gd name="connsiteY37" fmla="*/ 145738 h 189362"/>
                <a:gd name="connsiteX38" fmla="*/ 48768 w 189214"/>
                <a:gd name="connsiteY38" fmla="*/ 119925 h 189362"/>
                <a:gd name="connsiteX39" fmla="*/ 46482 w 189214"/>
                <a:gd name="connsiteY39" fmla="*/ 114115 h 189362"/>
                <a:gd name="connsiteX40" fmla="*/ 13621 w 189214"/>
                <a:gd name="connsiteY40" fmla="*/ 113162 h 189362"/>
                <a:gd name="connsiteX41" fmla="*/ 0 w 189214"/>
                <a:gd name="connsiteY41" fmla="*/ 98970 h 189362"/>
                <a:gd name="connsiteX42" fmla="*/ 0 w 189214"/>
                <a:gd name="connsiteY42" fmla="*/ 98494 h 189362"/>
                <a:gd name="connsiteX43" fmla="*/ 15621 w 189214"/>
                <a:gd name="connsiteY43" fmla="*/ 85159 h 189362"/>
                <a:gd name="connsiteX44" fmla="*/ 58674 w 189214"/>
                <a:gd name="connsiteY44" fmla="*/ 84683 h 189362"/>
                <a:gd name="connsiteX45" fmla="*/ 60388 w 189214"/>
                <a:gd name="connsiteY45" fmla="*/ 80396 h 189362"/>
                <a:gd name="connsiteX46" fmla="*/ 21908 w 189214"/>
                <a:gd name="connsiteY46" fmla="*/ 41915 h 189362"/>
                <a:gd name="connsiteX47" fmla="*/ 21908 w 189214"/>
                <a:gd name="connsiteY47" fmla="*/ 23437 h 189362"/>
                <a:gd name="connsiteX48" fmla="*/ 23717 w 189214"/>
                <a:gd name="connsiteY48" fmla="*/ 21627 h 189362"/>
                <a:gd name="connsiteX49" fmla="*/ 40862 w 189214"/>
                <a:gd name="connsiteY49" fmla="*/ 21627 h 189362"/>
                <a:gd name="connsiteX50" fmla="*/ 70485 w 189214"/>
                <a:gd name="connsiteY50" fmla="*/ 51250 h 189362"/>
                <a:gd name="connsiteX51" fmla="*/ 75152 w 189214"/>
                <a:gd name="connsiteY51" fmla="*/ 49250 h 189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14" h="189362">
                  <a:moveTo>
                    <a:pt x="75152" y="49250"/>
                  </a:moveTo>
                  <a:lnTo>
                    <a:pt x="75152" y="11435"/>
                  </a:lnTo>
                  <a:cubicBezTo>
                    <a:pt x="75152" y="4069"/>
                    <a:pt x="78867" y="291"/>
                    <a:pt x="86296" y="101"/>
                  </a:cubicBezTo>
                  <a:cubicBezTo>
                    <a:pt x="88456" y="37"/>
                    <a:pt x="89757" y="5"/>
                    <a:pt x="90202" y="5"/>
                  </a:cubicBezTo>
                  <a:cubicBezTo>
                    <a:pt x="97616" y="-205"/>
                    <a:pt x="103797" y="5678"/>
                    <a:pt x="104008" y="13145"/>
                  </a:cubicBezTo>
                  <a:cubicBezTo>
                    <a:pt x="104011" y="13273"/>
                    <a:pt x="104013" y="13402"/>
                    <a:pt x="104013" y="13531"/>
                  </a:cubicBezTo>
                  <a:lnTo>
                    <a:pt x="104013" y="48678"/>
                  </a:lnTo>
                  <a:cubicBezTo>
                    <a:pt x="104013" y="53695"/>
                    <a:pt x="105791" y="54425"/>
                    <a:pt x="109347" y="50869"/>
                  </a:cubicBezTo>
                  <a:lnTo>
                    <a:pt x="138208" y="22008"/>
                  </a:lnTo>
                  <a:cubicBezTo>
                    <a:pt x="142908" y="17371"/>
                    <a:pt x="150441" y="17371"/>
                    <a:pt x="155067" y="22008"/>
                  </a:cubicBezTo>
                  <a:lnTo>
                    <a:pt x="158686" y="25628"/>
                  </a:lnTo>
                  <a:cubicBezTo>
                    <a:pt x="163766" y="30708"/>
                    <a:pt x="163767" y="35756"/>
                    <a:pt x="158686" y="40772"/>
                  </a:cubicBezTo>
                  <a:lnTo>
                    <a:pt x="120586" y="78872"/>
                  </a:lnTo>
                  <a:cubicBezTo>
                    <a:pt x="116522" y="83000"/>
                    <a:pt x="117380" y="85064"/>
                    <a:pt x="123158" y="85064"/>
                  </a:cubicBezTo>
                  <a:lnTo>
                    <a:pt x="175165" y="85254"/>
                  </a:lnTo>
                  <a:cubicBezTo>
                    <a:pt x="182912" y="85254"/>
                    <a:pt x="187579" y="89699"/>
                    <a:pt x="189167" y="98589"/>
                  </a:cubicBezTo>
                  <a:cubicBezTo>
                    <a:pt x="189357" y="99923"/>
                    <a:pt x="188976" y="101828"/>
                    <a:pt x="188023" y="104304"/>
                  </a:cubicBezTo>
                  <a:cubicBezTo>
                    <a:pt x="185610" y="110527"/>
                    <a:pt x="181070" y="113639"/>
                    <a:pt x="174403" y="113639"/>
                  </a:cubicBezTo>
                  <a:lnTo>
                    <a:pt x="142113" y="113639"/>
                  </a:lnTo>
                  <a:cubicBezTo>
                    <a:pt x="135763" y="113639"/>
                    <a:pt x="134842" y="115861"/>
                    <a:pt x="139351" y="120306"/>
                  </a:cubicBezTo>
                  <a:lnTo>
                    <a:pt x="169164" y="150119"/>
                  </a:lnTo>
                  <a:cubicBezTo>
                    <a:pt x="172610" y="153592"/>
                    <a:pt x="172618" y="159171"/>
                    <a:pt x="169182" y="162580"/>
                  </a:cubicBezTo>
                  <a:cubicBezTo>
                    <a:pt x="169176" y="162585"/>
                    <a:pt x="169170" y="162591"/>
                    <a:pt x="169164" y="162597"/>
                  </a:cubicBezTo>
                  <a:lnTo>
                    <a:pt x="162211" y="169646"/>
                  </a:lnTo>
                  <a:cubicBezTo>
                    <a:pt x="158718" y="173138"/>
                    <a:pt x="155734" y="172725"/>
                    <a:pt x="153257" y="168407"/>
                  </a:cubicBezTo>
                  <a:cubicBezTo>
                    <a:pt x="151479" y="165232"/>
                    <a:pt x="148749" y="162819"/>
                    <a:pt x="145066" y="161168"/>
                  </a:cubicBezTo>
                  <a:cubicBezTo>
                    <a:pt x="131826" y="155168"/>
                    <a:pt x="120777" y="141071"/>
                    <a:pt x="111538" y="130212"/>
                  </a:cubicBezTo>
                  <a:cubicBezTo>
                    <a:pt x="106458" y="124307"/>
                    <a:pt x="103918" y="125259"/>
                    <a:pt x="103918" y="133070"/>
                  </a:cubicBezTo>
                  <a:lnTo>
                    <a:pt x="103918" y="176694"/>
                  </a:lnTo>
                  <a:cubicBezTo>
                    <a:pt x="103918" y="183691"/>
                    <a:pt x="98203" y="189362"/>
                    <a:pt x="91154" y="189362"/>
                  </a:cubicBezTo>
                  <a:lnTo>
                    <a:pt x="85915" y="189362"/>
                  </a:lnTo>
                  <a:cubicBezTo>
                    <a:pt x="79971" y="189362"/>
                    <a:pt x="75152" y="184586"/>
                    <a:pt x="75152" y="178694"/>
                  </a:cubicBezTo>
                  <a:lnTo>
                    <a:pt x="75152" y="140594"/>
                  </a:lnTo>
                  <a:cubicBezTo>
                    <a:pt x="75152" y="135260"/>
                    <a:pt x="73279" y="134467"/>
                    <a:pt x="69533" y="138213"/>
                  </a:cubicBezTo>
                  <a:lnTo>
                    <a:pt x="41243" y="166502"/>
                  </a:lnTo>
                  <a:cubicBezTo>
                    <a:pt x="36798" y="170947"/>
                    <a:pt x="31813" y="171678"/>
                    <a:pt x="26289" y="168693"/>
                  </a:cubicBezTo>
                  <a:cubicBezTo>
                    <a:pt x="24511" y="167741"/>
                    <a:pt x="23082" y="166629"/>
                    <a:pt x="22003" y="165359"/>
                  </a:cubicBezTo>
                  <a:cubicBezTo>
                    <a:pt x="16351" y="158565"/>
                    <a:pt x="16669" y="152024"/>
                    <a:pt x="22955" y="145738"/>
                  </a:cubicBezTo>
                  <a:lnTo>
                    <a:pt x="48768" y="119925"/>
                  </a:lnTo>
                  <a:cubicBezTo>
                    <a:pt x="52515" y="116179"/>
                    <a:pt x="51753" y="114242"/>
                    <a:pt x="46482" y="114115"/>
                  </a:cubicBezTo>
                  <a:lnTo>
                    <a:pt x="13621" y="113162"/>
                  </a:lnTo>
                  <a:cubicBezTo>
                    <a:pt x="4667" y="112972"/>
                    <a:pt x="127" y="108241"/>
                    <a:pt x="0" y="98970"/>
                  </a:cubicBezTo>
                  <a:cubicBezTo>
                    <a:pt x="0" y="98780"/>
                    <a:pt x="0" y="98621"/>
                    <a:pt x="0" y="98494"/>
                  </a:cubicBezTo>
                  <a:cubicBezTo>
                    <a:pt x="1143" y="89667"/>
                    <a:pt x="6350" y="85222"/>
                    <a:pt x="15621" y="85159"/>
                  </a:cubicBezTo>
                  <a:lnTo>
                    <a:pt x="58674" y="84683"/>
                  </a:lnTo>
                  <a:cubicBezTo>
                    <a:pt x="62675" y="84683"/>
                    <a:pt x="63246" y="83254"/>
                    <a:pt x="60388" y="80396"/>
                  </a:cubicBezTo>
                  <a:lnTo>
                    <a:pt x="21908" y="41915"/>
                  </a:lnTo>
                  <a:cubicBezTo>
                    <a:pt x="15748" y="35756"/>
                    <a:pt x="15748" y="29596"/>
                    <a:pt x="21908" y="23437"/>
                  </a:cubicBezTo>
                  <a:lnTo>
                    <a:pt x="23717" y="21627"/>
                  </a:lnTo>
                  <a:cubicBezTo>
                    <a:pt x="29432" y="15912"/>
                    <a:pt x="35147" y="15912"/>
                    <a:pt x="40862" y="21627"/>
                  </a:cubicBezTo>
                  <a:lnTo>
                    <a:pt x="70485" y="51250"/>
                  </a:lnTo>
                  <a:cubicBezTo>
                    <a:pt x="73597" y="54361"/>
                    <a:pt x="75152" y="53695"/>
                    <a:pt x="75152" y="49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-form: Shape 3658">
              <a:extLst>
                <a:ext uri="{FF2B5EF4-FFF2-40B4-BE49-F238E27FC236}">
                  <a16:creationId xmlns:a16="http://schemas.microsoft.com/office/drawing/2014/main" id="{99012F29-ADB3-EA02-BD09-908431C8C172}"/>
                </a:ext>
              </a:extLst>
            </p:cNvPr>
            <p:cNvSpPr/>
            <p:nvPr/>
          </p:nvSpPr>
          <p:spPr>
            <a:xfrm>
              <a:off x="21849153" y="8451184"/>
              <a:ext cx="181165" cy="189928"/>
            </a:xfrm>
            <a:custGeom>
              <a:avLst/>
              <a:gdLst>
                <a:gd name="connsiteX0" fmla="*/ 90297 w 181165"/>
                <a:gd name="connsiteY0" fmla="*/ 0 h 189928"/>
                <a:gd name="connsiteX1" fmla="*/ 100870 w 181165"/>
                <a:gd name="connsiteY1" fmla="*/ 4096 h 189928"/>
                <a:gd name="connsiteX2" fmla="*/ 104680 w 181165"/>
                <a:gd name="connsiteY2" fmla="*/ 12383 h 189928"/>
                <a:gd name="connsiteX3" fmla="*/ 104680 w 181165"/>
                <a:gd name="connsiteY3" fmla="*/ 49816 h 189928"/>
                <a:gd name="connsiteX4" fmla="*/ 107710 w 181165"/>
                <a:gd name="connsiteY4" fmla="*/ 52688 h 189928"/>
                <a:gd name="connsiteX5" fmla="*/ 109728 w 181165"/>
                <a:gd name="connsiteY5" fmla="*/ 51816 h 189928"/>
                <a:gd name="connsiteX6" fmla="*/ 139541 w 181165"/>
                <a:gd name="connsiteY6" fmla="*/ 22098 h 189928"/>
                <a:gd name="connsiteX7" fmla="*/ 149352 w 181165"/>
                <a:gd name="connsiteY7" fmla="*/ 19241 h 189928"/>
                <a:gd name="connsiteX8" fmla="*/ 159353 w 181165"/>
                <a:gd name="connsiteY8" fmla="*/ 25337 h 189928"/>
                <a:gd name="connsiteX9" fmla="*/ 158496 w 181165"/>
                <a:gd name="connsiteY9" fmla="*/ 42672 h 189928"/>
                <a:gd name="connsiteX10" fmla="*/ 121729 w 181165"/>
                <a:gd name="connsiteY10" fmla="*/ 79438 h 189928"/>
                <a:gd name="connsiteX11" fmla="*/ 124016 w 181165"/>
                <a:gd name="connsiteY11" fmla="*/ 85058 h 189928"/>
                <a:gd name="connsiteX12" fmla="*/ 166783 w 181165"/>
                <a:gd name="connsiteY12" fmla="*/ 85344 h 189928"/>
                <a:gd name="connsiteX13" fmla="*/ 181165 w 181165"/>
                <a:gd name="connsiteY13" fmla="*/ 100108 h 189928"/>
                <a:gd name="connsiteX14" fmla="*/ 181166 w 181165"/>
                <a:gd name="connsiteY14" fmla="*/ 100679 h 189928"/>
                <a:gd name="connsiteX15" fmla="*/ 166592 w 181165"/>
                <a:gd name="connsiteY15" fmla="*/ 113633 h 189928"/>
                <a:gd name="connsiteX16" fmla="*/ 133731 w 181165"/>
                <a:gd name="connsiteY16" fmla="*/ 114205 h 189928"/>
                <a:gd name="connsiteX17" fmla="*/ 131350 w 181165"/>
                <a:gd name="connsiteY17" fmla="*/ 120015 h 189928"/>
                <a:gd name="connsiteX18" fmla="*/ 159353 w 181165"/>
                <a:gd name="connsiteY18" fmla="*/ 148019 h 189928"/>
                <a:gd name="connsiteX19" fmla="*/ 159353 w 181165"/>
                <a:gd name="connsiteY19" fmla="*/ 164497 h 189928"/>
                <a:gd name="connsiteX20" fmla="*/ 156400 w 181165"/>
                <a:gd name="connsiteY20" fmla="*/ 167450 h 189928"/>
                <a:gd name="connsiteX21" fmla="*/ 140494 w 181165"/>
                <a:gd name="connsiteY21" fmla="*/ 167450 h 189928"/>
                <a:gd name="connsiteX22" fmla="*/ 111442 w 181165"/>
                <a:gd name="connsiteY22" fmla="*/ 138398 h 189928"/>
                <a:gd name="connsiteX23" fmla="*/ 106108 w 181165"/>
                <a:gd name="connsiteY23" fmla="*/ 140017 h 189928"/>
                <a:gd name="connsiteX24" fmla="*/ 104394 w 181165"/>
                <a:gd name="connsiteY24" fmla="*/ 174974 h 189928"/>
                <a:gd name="connsiteX25" fmla="*/ 101537 w 181165"/>
                <a:gd name="connsiteY25" fmla="*/ 185071 h 189928"/>
                <a:gd name="connsiteX26" fmla="*/ 90868 w 181165"/>
                <a:gd name="connsiteY26" fmla="*/ 189929 h 189928"/>
                <a:gd name="connsiteX27" fmla="*/ 80105 w 181165"/>
                <a:gd name="connsiteY27" fmla="*/ 185166 h 189928"/>
                <a:gd name="connsiteX28" fmla="*/ 77248 w 181165"/>
                <a:gd name="connsiteY28" fmla="*/ 175070 h 189928"/>
                <a:gd name="connsiteX29" fmla="*/ 75343 w 181165"/>
                <a:gd name="connsiteY29" fmla="*/ 140113 h 189928"/>
                <a:gd name="connsiteX30" fmla="*/ 70009 w 181165"/>
                <a:gd name="connsiteY30" fmla="*/ 138494 h 189928"/>
                <a:gd name="connsiteX31" fmla="*/ 41053 w 181165"/>
                <a:gd name="connsiteY31" fmla="*/ 167735 h 189928"/>
                <a:gd name="connsiteX32" fmla="*/ 25146 w 181165"/>
                <a:gd name="connsiteY32" fmla="*/ 167830 h 189928"/>
                <a:gd name="connsiteX33" fmla="*/ 22193 w 181165"/>
                <a:gd name="connsiteY33" fmla="*/ 164878 h 189928"/>
                <a:gd name="connsiteX34" fmla="*/ 22098 w 181165"/>
                <a:gd name="connsiteY34" fmla="*/ 148400 h 189928"/>
                <a:gd name="connsiteX35" fmla="*/ 49911 w 181165"/>
                <a:gd name="connsiteY35" fmla="*/ 120205 h 189928"/>
                <a:gd name="connsiteX36" fmla="*/ 47530 w 181165"/>
                <a:gd name="connsiteY36" fmla="*/ 114395 h 189928"/>
                <a:gd name="connsiteX37" fmla="*/ 14668 w 181165"/>
                <a:gd name="connsiteY37" fmla="*/ 114014 h 189928"/>
                <a:gd name="connsiteX38" fmla="*/ 0 w 181165"/>
                <a:gd name="connsiteY38" fmla="*/ 101155 h 189928"/>
                <a:gd name="connsiteX39" fmla="*/ 0 w 181165"/>
                <a:gd name="connsiteY39" fmla="*/ 100584 h 189928"/>
                <a:gd name="connsiteX40" fmla="*/ 14383 w 181165"/>
                <a:gd name="connsiteY40" fmla="*/ 85725 h 189928"/>
                <a:gd name="connsiteX41" fmla="*/ 57150 w 181165"/>
                <a:gd name="connsiteY41" fmla="*/ 85249 h 189928"/>
                <a:gd name="connsiteX42" fmla="*/ 59341 w 181165"/>
                <a:gd name="connsiteY42" fmla="*/ 79629 h 189928"/>
                <a:gd name="connsiteX43" fmla="*/ 22384 w 181165"/>
                <a:gd name="connsiteY43" fmla="*/ 43053 h 189928"/>
                <a:gd name="connsiteX44" fmla="*/ 21431 w 181165"/>
                <a:gd name="connsiteY44" fmla="*/ 25717 h 189928"/>
                <a:gd name="connsiteX45" fmla="*/ 31433 w 181165"/>
                <a:gd name="connsiteY45" fmla="*/ 19526 h 189928"/>
                <a:gd name="connsiteX46" fmla="*/ 41243 w 181165"/>
                <a:gd name="connsiteY46" fmla="*/ 22384 h 189928"/>
                <a:gd name="connsiteX47" fmla="*/ 71247 w 181165"/>
                <a:gd name="connsiteY47" fmla="*/ 51911 h 189928"/>
                <a:gd name="connsiteX48" fmla="*/ 75423 w 181165"/>
                <a:gd name="connsiteY48" fmla="*/ 51929 h 189928"/>
                <a:gd name="connsiteX49" fmla="*/ 76295 w 181165"/>
                <a:gd name="connsiteY49" fmla="*/ 49911 h 189928"/>
                <a:gd name="connsiteX50" fmla="*/ 76009 w 181165"/>
                <a:gd name="connsiteY50" fmla="*/ 12478 h 189928"/>
                <a:gd name="connsiteX51" fmla="*/ 79820 w 181165"/>
                <a:gd name="connsiteY51" fmla="*/ 4191 h 189928"/>
                <a:gd name="connsiteX52" fmla="*/ 90297 w 181165"/>
                <a:gd name="connsiteY52" fmla="*/ 0 h 189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81165" h="189928">
                  <a:moveTo>
                    <a:pt x="90297" y="0"/>
                  </a:moveTo>
                  <a:cubicBezTo>
                    <a:pt x="94044" y="0"/>
                    <a:pt x="97568" y="1365"/>
                    <a:pt x="100870" y="4096"/>
                  </a:cubicBezTo>
                  <a:cubicBezTo>
                    <a:pt x="103410" y="6318"/>
                    <a:pt x="104680" y="9081"/>
                    <a:pt x="104680" y="12383"/>
                  </a:cubicBezTo>
                  <a:lnTo>
                    <a:pt x="104680" y="49816"/>
                  </a:lnTo>
                  <a:cubicBezTo>
                    <a:pt x="104723" y="51446"/>
                    <a:pt x="106080" y="52732"/>
                    <a:pt x="107710" y="52688"/>
                  </a:cubicBezTo>
                  <a:cubicBezTo>
                    <a:pt x="108470" y="52668"/>
                    <a:pt x="109193" y="52356"/>
                    <a:pt x="109728" y="51816"/>
                  </a:cubicBezTo>
                  <a:lnTo>
                    <a:pt x="139541" y="22098"/>
                  </a:lnTo>
                  <a:cubicBezTo>
                    <a:pt x="142272" y="19304"/>
                    <a:pt x="145542" y="18351"/>
                    <a:pt x="149352" y="19241"/>
                  </a:cubicBezTo>
                  <a:cubicBezTo>
                    <a:pt x="153479" y="20130"/>
                    <a:pt x="156813" y="22162"/>
                    <a:pt x="159353" y="25337"/>
                  </a:cubicBezTo>
                  <a:cubicBezTo>
                    <a:pt x="164243" y="31433"/>
                    <a:pt x="163957" y="37211"/>
                    <a:pt x="158496" y="42672"/>
                  </a:cubicBezTo>
                  <a:lnTo>
                    <a:pt x="121729" y="79438"/>
                  </a:lnTo>
                  <a:cubicBezTo>
                    <a:pt x="118046" y="83122"/>
                    <a:pt x="118808" y="84995"/>
                    <a:pt x="124016" y="85058"/>
                  </a:cubicBezTo>
                  <a:lnTo>
                    <a:pt x="166783" y="85344"/>
                  </a:lnTo>
                  <a:cubicBezTo>
                    <a:pt x="173849" y="85380"/>
                    <a:pt x="179978" y="91671"/>
                    <a:pt x="181165" y="100108"/>
                  </a:cubicBezTo>
                  <a:cubicBezTo>
                    <a:pt x="181165" y="100298"/>
                    <a:pt x="181166" y="100489"/>
                    <a:pt x="181166" y="100679"/>
                  </a:cubicBezTo>
                  <a:cubicBezTo>
                    <a:pt x="180140" y="107986"/>
                    <a:pt x="173969" y="113471"/>
                    <a:pt x="166592" y="113633"/>
                  </a:cubicBezTo>
                  <a:lnTo>
                    <a:pt x="133731" y="114205"/>
                  </a:lnTo>
                  <a:cubicBezTo>
                    <a:pt x="128333" y="114268"/>
                    <a:pt x="127540" y="116205"/>
                    <a:pt x="131350" y="120015"/>
                  </a:cubicBezTo>
                  <a:lnTo>
                    <a:pt x="159353" y="148019"/>
                  </a:lnTo>
                  <a:cubicBezTo>
                    <a:pt x="164878" y="153480"/>
                    <a:pt x="164878" y="158972"/>
                    <a:pt x="159353" y="164497"/>
                  </a:cubicBezTo>
                  <a:lnTo>
                    <a:pt x="156400" y="167450"/>
                  </a:lnTo>
                  <a:cubicBezTo>
                    <a:pt x="151130" y="172720"/>
                    <a:pt x="145828" y="172720"/>
                    <a:pt x="140494" y="167450"/>
                  </a:cubicBezTo>
                  <a:lnTo>
                    <a:pt x="111442" y="138398"/>
                  </a:lnTo>
                  <a:cubicBezTo>
                    <a:pt x="108712" y="135604"/>
                    <a:pt x="106934" y="136144"/>
                    <a:pt x="106108" y="140017"/>
                  </a:cubicBezTo>
                  <a:cubicBezTo>
                    <a:pt x="105346" y="143764"/>
                    <a:pt x="104775" y="155416"/>
                    <a:pt x="104394" y="174974"/>
                  </a:cubicBezTo>
                  <a:cubicBezTo>
                    <a:pt x="104267" y="179546"/>
                    <a:pt x="103314" y="182912"/>
                    <a:pt x="101537" y="185071"/>
                  </a:cubicBezTo>
                  <a:cubicBezTo>
                    <a:pt x="98933" y="188309"/>
                    <a:pt x="95377" y="189929"/>
                    <a:pt x="90868" y="189929"/>
                  </a:cubicBezTo>
                  <a:cubicBezTo>
                    <a:pt x="86360" y="189929"/>
                    <a:pt x="82772" y="188341"/>
                    <a:pt x="80105" y="185166"/>
                  </a:cubicBezTo>
                  <a:cubicBezTo>
                    <a:pt x="78327" y="183007"/>
                    <a:pt x="77375" y="179642"/>
                    <a:pt x="77248" y="175070"/>
                  </a:cubicBezTo>
                  <a:cubicBezTo>
                    <a:pt x="76740" y="155512"/>
                    <a:pt x="76105" y="143859"/>
                    <a:pt x="75343" y="140113"/>
                  </a:cubicBezTo>
                  <a:cubicBezTo>
                    <a:pt x="74454" y="136239"/>
                    <a:pt x="72676" y="135700"/>
                    <a:pt x="70009" y="138494"/>
                  </a:cubicBezTo>
                  <a:lnTo>
                    <a:pt x="41053" y="167735"/>
                  </a:lnTo>
                  <a:cubicBezTo>
                    <a:pt x="35782" y="173006"/>
                    <a:pt x="30480" y="173038"/>
                    <a:pt x="25146" y="167830"/>
                  </a:cubicBezTo>
                  <a:lnTo>
                    <a:pt x="22193" y="164878"/>
                  </a:lnTo>
                  <a:cubicBezTo>
                    <a:pt x="16669" y="159353"/>
                    <a:pt x="16637" y="153861"/>
                    <a:pt x="22098" y="148400"/>
                  </a:cubicBezTo>
                  <a:lnTo>
                    <a:pt x="49911" y="120205"/>
                  </a:lnTo>
                  <a:cubicBezTo>
                    <a:pt x="53721" y="116396"/>
                    <a:pt x="52927" y="114459"/>
                    <a:pt x="47530" y="114395"/>
                  </a:cubicBezTo>
                  <a:lnTo>
                    <a:pt x="14668" y="114014"/>
                  </a:lnTo>
                  <a:cubicBezTo>
                    <a:pt x="7287" y="113906"/>
                    <a:pt x="1074" y="108459"/>
                    <a:pt x="0" y="101155"/>
                  </a:cubicBezTo>
                  <a:cubicBezTo>
                    <a:pt x="0" y="100965"/>
                    <a:pt x="0" y="100775"/>
                    <a:pt x="0" y="100584"/>
                  </a:cubicBezTo>
                  <a:cubicBezTo>
                    <a:pt x="1141" y="92098"/>
                    <a:pt x="7283" y="85753"/>
                    <a:pt x="14383" y="85725"/>
                  </a:cubicBezTo>
                  <a:lnTo>
                    <a:pt x="57150" y="85249"/>
                  </a:lnTo>
                  <a:cubicBezTo>
                    <a:pt x="62357" y="85122"/>
                    <a:pt x="63087" y="83249"/>
                    <a:pt x="59341" y="79629"/>
                  </a:cubicBezTo>
                  <a:lnTo>
                    <a:pt x="22384" y="43053"/>
                  </a:lnTo>
                  <a:cubicBezTo>
                    <a:pt x="16923" y="37592"/>
                    <a:pt x="16605" y="31813"/>
                    <a:pt x="21431" y="25717"/>
                  </a:cubicBezTo>
                  <a:cubicBezTo>
                    <a:pt x="23971" y="22543"/>
                    <a:pt x="27305" y="20479"/>
                    <a:pt x="31433" y="19526"/>
                  </a:cubicBezTo>
                  <a:cubicBezTo>
                    <a:pt x="35242" y="18637"/>
                    <a:pt x="38513" y="19590"/>
                    <a:pt x="41243" y="22384"/>
                  </a:cubicBezTo>
                  <a:lnTo>
                    <a:pt x="71247" y="51911"/>
                  </a:lnTo>
                  <a:cubicBezTo>
                    <a:pt x="72395" y="53069"/>
                    <a:pt x="74265" y="53077"/>
                    <a:pt x="75423" y="51929"/>
                  </a:cubicBezTo>
                  <a:cubicBezTo>
                    <a:pt x="75962" y="51393"/>
                    <a:pt x="76275" y="50671"/>
                    <a:pt x="76295" y="49911"/>
                  </a:cubicBezTo>
                  <a:lnTo>
                    <a:pt x="76009" y="12478"/>
                  </a:lnTo>
                  <a:cubicBezTo>
                    <a:pt x="76009" y="9176"/>
                    <a:pt x="77279" y="6414"/>
                    <a:pt x="79820" y="4191"/>
                  </a:cubicBezTo>
                  <a:cubicBezTo>
                    <a:pt x="83058" y="1397"/>
                    <a:pt x="86551" y="0"/>
                    <a:pt x="9029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-form: Shape 3659">
              <a:extLst>
                <a:ext uri="{FF2B5EF4-FFF2-40B4-BE49-F238E27FC236}">
                  <a16:creationId xmlns:a16="http://schemas.microsoft.com/office/drawing/2014/main" id="{F3705069-5EC5-8957-0C77-B1223742A88D}"/>
                </a:ext>
              </a:extLst>
            </p:cNvPr>
            <p:cNvSpPr/>
            <p:nvPr/>
          </p:nvSpPr>
          <p:spPr>
            <a:xfrm>
              <a:off x="20992855" y="8460703"/>
              <a:ext cx="179927" cy="190077"/>
            </a:xfrm>
            <a:custGeom>
              <a:avLst/>
              <a:gdLst>
                <a:gd name="connsiteX0" fmla="*/ 130493 w 179927"/>
                <a:gd name="connsiteY0" fmla="*/ 75349 h 190077"/>
                <a:gd name="connsiteX1" fmla="*/ 165735 w 179927"/>
                <a:gd name="connsiteY1" fmla="*/ 76111 h 190077"/>
                <a:gd name="connsiteX2" fmla="*/ 179927 w 179927"/>
                <a:gd name="connsiteY2" fmla="*/ 90779 h 190077"/>
                <a:gd name="connsiteX3" fmla="*/ 179927 w 179927"/>
                <a:gd name="connsiteY3" fmla="*/ 91351 h 190077"/>
                <a:gd name="connsiteX4" fmla="*/ 165735 w 179927"/>
                <a:gd name="connsiteY4" fmla="*/ 104019 h 190077"/>
                <a:gd name="connsiteX5" fmla="*/ 129921 w 179927"/>
                <a:gd name="connsiteY5" fmla="*/ 105162 h 190077"/>
                <a:gd name="connsiteX6" fmla="*/ 128016 w 179927"/>
                <a:gd name="connsiteY6" fmla="*/ 109829 h 190077"/>
                <a:gd name="connsiteX7" fmla="*/ 156591 w 179927"/>
                <a:gd name="connsiteY7" fmla="*/ 138500 h 190077"/>
                <a:gd name="connsiteX8" fmla="*/ 156591 w 179927"/>
                <a:gd name="connsiteY8" fmla="*/ 156692 h 190077"/>
                <a:gd name="connsiteX9" fmla="*/ 154305 w 179927"/>
                <a:gd name="connsiteY9" fmla="*/ 159074 h 190077"/>
                <a:gd name="connsiteX10" fmla="*/ 137922 w 179927"/>
                <a:gd name="connsiteY10" fmla="*/ 159074 h 190077"/>
                <a:gd name="connsiteX11" fmla="*/ 109347 w 179927"/>
                <a:gd name="connsiteY11" fmla="*/ 130403 h 190077"/>
                <a:gd name="connsiteX12" fmla="*/ 104902 w 179927"/>
                <a:gd name="connsiteY12" fmla="*/ 130465 h 190077"/>
                <a:gd name="connsiteX13" fmla="*/ 104013 w 179927"/>
                <a:gd name="connsiteY13" fmla="*/ 132594 h 190077"/>
                <a:gd name="connsiteX14" fmla="*/ 104013 w 179927"/>
                <a:gd name="connsiteY14" fmla="*/ 178314 h 190077"/>
                <a:gd name="connsiteX15" fmla="*/ 92297 w 179927"/>
                <a:gd name="connsiteY15" fmla="*/ 190030 h 190077"/>
                <a:gd name="connsiteX16" fmla="*/ 88678 w 179927"/>
                <a:gd name="connsiteY16" fmla="*/ 190030 h 190077"/>
                <a:gd name="connsiteX17" fmla="*/ 75248 w 179927"/>
                <a:gd name="connsiteY17" fmla="*/ 175266 h 190077"/>
                <a:gd name="connsiteX18" fmla="*/ 75248 w 179927"/>
                <a:gd name="connsiteY18" fmla="*/ 124307 h 190077"/>
                <a:gd name="connsiteX19" fmla="*/ 69914 w 179927"/>
                <a:gd name="connsiteY19" fmla="*/ 122021 h 190077"/>
                <a:gd name="connsiteX20" fmla="*/ 30385 w 179927"/>
                <a:gd name="connsiteY20" fmla="*/ 158597 h 190077"/>
                <a:gd name="connsiteX21" fmla="*/ 14954 w 179927"/>
                <a:gd name="connsiteY21" fmla="*/ 158312 h 190077"/>
                <a:gd name="connsiteX22" fmla="*/ 12764 w 179927"/>
                <a:gd name="connsiteY22" fmla="*/ 156216 h 190077"/>
                <a:gd name="connsiteX23" fmla="*/ 12764 w 179927"/>
                <a:gd name="connsiteY23" fmla="*/ 138500 h 190077"/>
                <a:gd name="connsiteX24" fmla="*/ 41053 w 179927"/>
                <a:gd name="connsiteY24" fmla="*/ 110210 h 190077"/>
                <a:gd name="connsiteX25" fmla="*/ 39148 w 179927"/>
                <a:gd name="connsiteY25" fmla="*/ 105067 h 190077"/>
                <a:gd name="connsiteX26" fmla="*/ 13621 w 179927"/>
                <a:gd name="connsiteY26" fmla="*/ 103829 h 190077"/>
                <a:gd name="connsiteX27" fmla="*/ 0 w 179927"/>
                <a:gd name="connsiteY27" fmla="*/ 90684 h 190077"/>
                <a:gd name="connsiteX28" fmla="*/ 0 w 179927"/>
                <a:gd name="connsiteY28" fmla="*/ 90113 h 190077"/>
                <a:gd name="connsiteX29" fmla="*/ 13526 w 179927"/>
                <a:gd name="connsiteY29" fmla="*/ 76301 h 190077"/>
                <a:gd name="connsiteX30" fmla="*/ 39910 w 179927"/>
                <a:gd name="connsiteY30" fmla="*/ 75444 h 190077"/>
                <a:gd name="connsiteX31" fmla="*/ 41815 w 179927"/>
                <a:gd name="connsiteY31" fmla="*/ 71539 h 190077"/>
                <a:gd name="connsiteX32" fmla="*/ 9906 w 179927"/>
                <a:gd name="connsiteY32" fmla="*/ 34582 h 190077"/>
                <a:gd name="connsiteX33" fmla="*/ 10287 w 179927"/>
                <a:gd name="connsiteY33" fmla="*/ 25533 h 190077"/>
                <a:gd name="connsiteX34" fmla="*/ 21431 w 179927"/>
                <a:gd name="connsiteY34" fmla="*/ 18485 h 190077"/>
                <a:gd name="connsiteX35" fmla="*/ 31433 w 179927"/>
                <a:gd name="connsiteY35" fmla="*/ 20866 h 190077"/>
                <a:gd name="connsiteX36" fmla="*/ 69152 w 179927"/>
                <a:gd name="connsiteY36" fmla="*/ 58680 h 190077"/>
                <a:gd name="connsiteX37" fmla="*/ 74000 w 179927"/>
                <a:gd name="connsiteY37" fmla="*/ 58594 h 190077"/>
                <a:gd name="connsiteX38" fmla="*/ 74962 w 179927"/>
                <a:gd name="connsiteY38" fmla="*/ 56204 h 190077"/>
                <a:gd name="connsiteX39" fmla="*/ 74962 w 179927"/>
                <a:gd name="connsiteY39" fmla="*/ 11912 h 190077"/>
                <a:gd name="connsiteX40" fmla="*/ 86674 w 179927"/>
                <a:gd name="connsiteY40" fmla="*/ 290 h 190077"/>
                <a:gd name="connsiteX41" fmla="*/ 86868 w 179927"/>
                <a:gd name="connsiteY41" fmla="*/ 292 h 190077"/>
                <a:gd name="connsiteX42" fmla="*/ 90488 w 179927"/>
                <a:gd name="connsiteY42" fmla="*/ 101 h 190077"/>
                <a:gd name="connsiteX43" fmla="*/ 103509 w 179927"/>
                <a:gd name="connsiteY43" fmla="*/ 12322 h 190077"/>
                <a:gd name="connsiteX44" fmla="*/ 103632 w 179927"/>
                <a:gd name="connsiteY44" fmla="*/ 14008 h 190077"/>
                <a:gd name="connsiteX45" fmla="*/ 104394 w 179927"/>
                <a:gd name="connsiteY45" fmla="*/ 46774 h 190077"/>
                <a:gd name="connsiteX46" fmla="*/ 108966 w 179927"/>
                <a:gd name="connsiteY46" fmla="*/ 49346 h 190077"/>
                <a:gd name="connsiteX47" fmla="*/ 140018 w 179927"/>
                <a:gd name="connsiteY47" fmla="*/ 21437 h 190077"/>
                <a:gd name="connsiteX48" fmla="*/ 154877 w 179927"/>
                <a:gd name="connsiteY48" fmla="*/ 21914 h 190077"/>
                <a:gd name="connsiteX49" fmla="*/ 157067 w 179927"/>
                <a:gd name="connsiteY49" fmla="*/ 24295 h 190077"/>
                <a:gd name="connsiteX50" fmla="*/ 156686 w 179927"/>
                <a:gd name="connsiteY50" fmla="*/ 42011 h 190077"/>
                <a:gd name="connsiteX51" fmla="*/ 128492 w 179927"/>
                <a:gd name="connsiteY51" fmla="*/ 70301 h 190077"/>
                <a:gd name="connsiteX52" fmla="*/ 130493 w 179927"/>
                <a:gd name="connsiteY52" fmla="*/ 75349 h 190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79927" h="190077">
                  <a:moveTo>
                    <a:pt x="130493" y="75349"/>
                  </a:moveTo>
                  <a:lnTo>
                    <a:pt x="165735" y="76111"/>
                  </a:lnTo>
                  <a:cubicBezTo>
                    <a:pt x="172932" y="76282"/>
                    <a:pt x="178994" y="82547"/>
                    <a:pt x="179927" y="90779"/>
                  </a:cubicBezTo>
                  <a:cubicBezTo>
                    <a:pt x="179927" y="90970"/>
                    <a:pt x="179927" y="91160"/>
                    <a:pt x="179927" y="91351"/>
                  </a:cubicBezTo>
                  <a:cubicBezTo>
                    <a:pt x="178594" y="99542"/>
                    <a:pt x="173863" y="103765"/>
                    <a:pt x="165735" y="104019"/>
                  </a:cubicBezTo>
                  <a:lnTo>
                    <a:pt x="129921" y="105162"/>
                  </a:lnTo>
                  <a:cubicBezTo>
                    <a:pt x="125667" y="105289"/>
                    <a:pt x="125032" y="106845"/>
                    <a:pt x="128016" y="109829"/>
                  </a:cubicBezTo>
                  <a:lnTo>
                    <a:pt x="156591" y="138500"/>
                  </a:lnTo>
                  <a:cubicBezTo>
                    <a:pt x="162687" y="144532"/>
                    <a:pt x="162687" y="150596"/>
                    <a:pt x="156591" y="156692"/>
                  </a:cubicBezTo>
                  <a:lnTo>
                    <a:pt x="154305" y="159074"/>
                  </a:lnTo>
                  <a:cubicBezTo>
                    <a:pt x="148844" y="164471"/>
                    <a:pt x="143383" y="164471"/>
                    <a:pt x="137922" y="159074"/>
                  </a:cubicBezTo>
                  <a:lnTo>
                    <a:pt x="109347" y="130403"/>
                  </a:lnTo>
                  <a:cubicBezTo>
                    <a:pt x="108102" y="129193"/>
                    <a:pt x="106112" y="129221"/>
                    <a:pt x="104902" y="130465"/>
                  </a:cubicBezTo>
                  <a:cubicBezTo>
                    <a:pt x="104347" y="131037"/>
                    <a:pt x="104029" y="131797"/>
                    <a:pt x="104013" y="132594"/>
                  </a:cubicBezTo>
                  <a:lnTo>
                    <a:pt x="104013" y="178314"/>
                  </a:lnTo>
                  <a:cubicBezTo>
                    <a:pt x="104013" y="184748"/>
                    <a:pt x="98783" y="189978"/>
                    <a:pt x="92297" y="190030"/>
                  </a:cubicBezTo>
                  <a:cubicBezTo>
                    <a:pt x="90329" y="190093"/>
                    <a:pt x="89122" y="190093"/>
                    <a:pt x="88678" y="190030"/>
                  </a:cubicBezTo>
                  <a:cubicBezTo>
                    <a:pt x="79724" y="189204"/>
                    <a:pt x="75248" y="184283"/>
                    <a:pt x="75248" y="175266"/>
                  </a:cubicBezTo>
                  <a:lnTo>
                    <a:pt x="75248" y="124307"/>
                  </a:lnTo>
                  <a:cubicBezTo>
                    <a:pt x="75248" y="119481"/>
                    <a:pt x="73470" y="118719"/>
                    <a:pt x="69914" y="122021"/>
                  </a:cubicBezTo>
                  <a:lnTo>
                    <a:pt x="30385" y="158597"/>
                  </a:lnTo>
                  <a:cubicBezTo>
                    <a:pt x="25114" y="163423"/>
                    <a:pt x="19971" y="163328"/>
                    <a:pt x="14954" y="158312"/>
                  </a:cubicBezTo>
                  <a:lnTo>
                    <a:pt x="12764" y="156216"/>
                  </a:lnTo>
                  <a:cubicBezTo>
                    <a:pt x="6922" y="150311"/>
                    <a:pt x="6922" y="144405"/>
                    <a:pt x="12764" y="138500"/>
                  </a:cubicBezTo>
                  <a:lnTo>
                    <a:pt x="41053" y="110210"/>
                  </a:lnTo>
                  <a:cubicBezTo>
                    <a:pt x="44228" y="107035"/>
                    <a:pt x="43593" y="105321"/>
                    <a:pt x="39148" y="105067"/>
                  </a:cubicBezTo>
                  <a:lnTo>
                    <a:pt x="13621" y="103829"/>
                  </a:lnTo>
                  <a:cubicBezTo>
                    <a:pt x="4858" y="103384"/>
                    <a:pt x="318" y="99003"/>
                    <a:pt x="0" y="90684"/>
                  </a:cubicBezTo>
                  <a:cubicBezTo>
                    <a:pt x="0" y="90494"/>
                    <a:pt x="0" y="90303"/>
                    <a:pt x="0" y="90113"/>
                  </a:cubicBezTo>
                  <a:cubicBezTo>
                    <a:pt x="381" y="81159"/>
                    <a:pt x="4890" y="76555"/>
                    <a:pt x="13526" y="76301"/>
                  </a:cubicBezTo>
                  <a:lnTo>
                    <a:pt x="39910" y="75444"/>
                  </a:lnTo>
                  <a:cubicBezTo>
                    <a:pt x="43339" y="75381"/>
                    <a:pt x="43974" y="74079"/>
                    <a:pt x="41815" y="71539"/>
                  </a:cubicBezTo>
                  <a:lnTo>
                    <a:pt x="9906" y="34582"/>
                  </a:lnTo>
                  <a:cubicBezTo>
                    <a:pt x="7302" y="31597"/>
                    <a:pt x="7430" y="28581"/>
                    <a:pt x="10287" y="25533"/>
                  </a:cubicBezTo>
                  <a:cubicBezTo>
                    <a:pt x="13526" y="22168"/>
                    <a:pt x="17240" y="19818"/>
                    <a:pt x="21431" y="18485"/>
                  </a:cubicBezTo>
                  <a:cubicBezTo>
                    <a:pt x="25241" y="17215"/>
                    <a:pt x="28575" y="18008"/>
                    <a:pt x="31433" y="20866"/>
                  </a:cubicBezTo>
                  <a:lnTo>
                    <a:pt x="69152" y="58680"/>
                  </a:lnTo>
                  <a:cubicBezTo>
                    <a:pt x="70514" y="59995"/>
                    <a:pt x="72685" y="59957"/>
                    <a:pt x="74000" y="58594"/>
                  </a:cubicBezTo>
                  <a:cubicBezTo>
                    <a:pt x="74619" y="57953"/>
                    <a:pt x="74964" y="57095"/>
                    <a:pt x="74962" y="56204"/>
                  </a:cubicBezTo>
                  <a:lnTo>
                    <a:pt x="74962" y="11912"/>
                  </a:lnTo>
                  <a:cubicBezTo>
                    <a:pt x="74960" y="5495"/>
                    <a:pt x="80204" y="291"/>
                    <a:pt x="86674" y="290"/>
                  </a:cubicBezTo>
                  <a:cubicBezTo>
                    <a:pt x="86739" y="290"/>
                    <a:pt x="86803" y="291"/>
                    <a:pt x="86868" y="292"/>
                  </a:cubicBezTo>
                  <a:cubicBezTo>
                    <a:pt x="88138" y="292"/>
                    <a:pt x="89345" y="228"/>
                    <a:pt x="90488" y="101"/>
                  </a:cubicBezTo>
                  <a:cubicBezTo>
                    <a:pt x="96738" y="-820"/>
                    <a:pt x="102568" y="4651"/>
                    <a:pt x="103509" y="12322"/>
                  </a:cubicBezTo>
                  <a:cubicBezTo>
                    <a:pt x="103578" y="12881"/>
                    <a:pt x="103619" y="13444"/>
                    <a:pt x="103632" y="14008"/>
                  </a:cubicBezTo>
                  <a:lnTo>
                    <a:pt x="104394" y="46774"/>
                  </a:lnTo>
                  <a:cubicBezTo>
                    <a:pt x="104521" y="51028"/>
                    <a:pt x="106045" y="51886"/>
                    <a:pt x="108966" y="49346"/>
                  </a:cubicBezTo>
                  <a:lnTo>
                    <a:pt x="140018" y="21437"/>
                  </a:lnTo>
                  <a:cubicBezTo>
                    <a:pt x="145288" y="16738"/>
                    <a:pt x="150241" y="16897"/>
                    <a:pt x="154877" y="21914"/>
                  </a:cubicBezTo>
                  <a:cubicBezTo>
                    <a:pt x="155893" y="23057"/>
                    <a:pt x="156623" y="23850"/>
                    <a:pt x="157067" y="24295"/>
                  </a:cubicBezTo>
                  <a:cubicBezTo>
                    <a:pt x="162655" y="30327"/>
                    <a:pt x="162528" y="36233"/>
                    <a:pt x="156686" y="42011"/>
                  </a:cubicBezTo>
                  <a:lnTo>
                    <a:pt x="128492" y="70301"/>
                  </a:lnTo>
                  <a:cubicBezTo>
                    <a:pt x="125190" y="73603"/>
                    <a:pt x="125857" y="75285"/>
                    <a:pt x="130493" y="753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-form: Shape 3660">
              <a:extLst>
                <a:ext uri="{FF2B5EF4-FFF2-40B4-BE49-F238E27FC236}">
                  <a16:creationId xmlns:a16="http://schemas.microsoft.com/office/drawing/2014/main" id="{89CDF029-7708-B2BF-CEAE-7D02AFF4755A}"/>
                </a:ext>
              </a:extLst>
            </p:cNvPr>
            <p:cNvSpPr/>
            <p:nvPr/>
          </p:nvSpPr>
          <p:spPr>
            <a:xfrm>
              <a:off x="21164877" y="8860758"/>
              <a:ext cx="179117" cy="190215"/>
            </a:xfrm>
            <a:custGeom>
              <a:avLst/>
              <a:gdLst>
                <a:gd name="connsiteX0" fmla="*/ 96298 w 179117"/>
                <a:gd name="connsiteY0" fmla="*/ 190216 h 190215"/>
                <a:gd name="connsiteX1" fmla="*/ 82772 w 179117"/>
                <a:gd name="connsiteY1" fmla="*/ 190216 h 190215"/>
                <a:gd name="connsiteX2" fmla="*/ 76581 w 179117"/>
                <a:gd name="connsiteY2" fmla="*/ 149354 h 190215"/>
                <a:gd name="connsiteX3" fmla="*/ 64103 w 179117"/>
                <a:gd name="connsiteY3" fmla="*/ 143448 h 190215"/>
                <a:gd name="connsiteX4" fmla="*/ 40100 w 179117"/>
                <a:gd name="connsiteY4" fmla="*/ 167451 h 190215"/>
                <a:gd name="connsiteX5" fmla="*/ 26003 w 179117"/>
                <a:gd name="connsiteY5" fmla="*/ 169356 h 190215"/>
                <a:gd name="connsiteX6" fmla="*/ 21241 w 179117"/>
                <a:gd name="connsiteY6" fmla="*/ 165356 h 190215"/>
                <a:gd name="connsiteX7" fmla="*/ 22860 w 179117"/>
                <a:gd name="connsiteY7" fmla="*/ 145829 h 190215"/>
                <a:gd name="connsiteX8" fmla="*/ 48387 w 179117"/>
                <a:gd name="connsiteY8" fmla="*/ 120302 h 190215"/>
                <a:gd name="connsiteX9" fmla="*/ 45720 w 179117"/>
                <a:gd name="connsiteY9" fmla="*/ 113825 h 190215"/>
                <a:gd name="connsiteX10" fmla="*/ 12573 w 179117"/>
                <a:gd name="connsiteY10" fmla="*/ 113825 h 190215"/>
                <a:gd name="connsiteX11" fmla="*/ 0 w 179117"/>
                <a:gd name="connsiteY11" fmla="*/ 101252 h 190215"/>
                <a:gd name="connsiteX12" fmla="*/ 0 w 179117"/>
                <a:gd name="connsiteY12" fmla="*/ 96966 h 190215"/>
                <a:gd name="connsiteX13" fmla="*/ 11430 w 179117"/>
                <a:gd name="connsiteY13" fmla="*/ 85536 h 190215"/>
                <a:gd name="connsiteX14" fmla="*/ 47815 w 179117"/>
                <a:gd name="connsiteY14" fmla="*/ 85536 h 190215"/>
                <a:gd name="connsiteX15" fmla="*/ 50292 w 179117"/>
                <a:gd name="connsiteY15" fmla="*/ 80297 h 190215"/>
                <a:gd name="connsiteX16" fmla="*/ 18002 w 179117"/>
                <a:gd name="connsiteY16" fmla="*/ 43340 h 190215"/>
                <a:gd name="connsiteX17" fmla="*/ 19431 w 179117"/>
                <a:gd name="connsiteY17" fmla="*/ 34863 h 190215"/>
                <a:gd name="connsiteX18" fmla="*/ 29432 w 179117"/>
                <a:gd name="connsiteY18" fmla="*/ 28291 h 190215"/>
                <a:gd name="connsiteX19" fmla="*/ 40386 w 179117"/>
                <a:gd name="connsiteY19" fmla="*/ 30672 h 190215"/>
                <a:gd name="connsiteX20" fmla="*/ 69342 w 179117"/>
                <a:gd name="connsiteY20" fmla="*/ 59533 h 190215"/>
                <a:gd name="connsiteX21" fmla="*/ 74009 w 179117"/>
                <a:gd name="connsiteY21" fmla="*/ 57628 h 190215"/>
                <a:gd name="connsiteX22" fmla="*/ 74866 w 179117"/>
                <a:gd name="connsiteY22" fmla="*/ 14003 h 190215"/>
                <a:gd name="connsiteX23" fmla="*/ 88201 w 179117"/>
                <a:gd name="connsiteY23" fmla="*/ 287 h 190215"/>
                <a:gd name="connsiteX24" fmla="*/ 89916 w 179117"/>
                <a:gd name="connsiteY24" fmla="*/ 192 h 190215"/>
                <a:gd name="connsiteX25" fmla="*/ 102922 w 179117"/>
                <a:gd name="connsiteY25" fmla="*/ 11512 h 190215"/>
                <a:gd name="connsiteX26" fmla="*/ 103156 w 179117"/>
                <a:gd name="connsiteY26" fmla="*/ 14099 h 190215"/>
                <a:gd name="connsiteX27" fmla="*/ 103727 w 179117"/>
                <a:gd name="connsiteY27" fmla="*/ 49246 h 190215"/>
                <a:gd name="connsiteX28" fmla="*/ 108871 w 179117"/>
                <a:gd name="connsiteY28" fmla="*/ 51341 h 190215"/>
                <a:gd name="connsiteX29" fmla="*/ 137255 w 179117"/>
                <a:gd name="connsiteY29" fmla="*/ 22957 h 190215"/>
                <a:gd name="connsiteX30" fmla="*/ 155067 w 179117"/>
                <a:gd name="connsiteY30" fmla="*/ 22957 h 190215"/>
                <a:gd name="connsiteX31" fmla="*/ 157258 w 179117"/>
                <a:gd name="connsiteY31" fmla="*/ 25148 h 190215"/>
                <a:gd name="connsiteX32" fmla="*/ 157543 w 179117"/>
                <a:gd name="connsiteY32" fmla="*/ 40388 h 190215"/>
                <a:gd name="connsiteX33" fmla="*/ 121444 w 179117"/>
                <a:gd name="connsiteY33" fmla="*/ 79250 h 190215"/>
                <a:gd name="connsiteX34" fmla="*/ 124206 w 179117"/>
                <a:gd name="connsiteY34" fmla="*/ 85346 h 190215"/>
                <a:gd name="connsiteX35" fmla="*/ 167354 w 179117"/>
                <a:gd name="connsiteY35" fmla="*/ 85727 h 190215"/>
                <a:gd name="connsiteX36" fmla="*/ 178689 w 179117"/>
                <a:gd name="connsiteY36" fmla="*/ 96585 h 190215"/>
                <a:gd name="connsiteX37" fmla="*/ 178689 w 179117"/>
                <a:gd name="connsiteY37" fmla="*/ 101633 h 190215"/>
                <a:gd name="connsiteX38" fmla="*/ 162496 w 179117"/>
                <a:gd name="connsiteY38" fmla="*/ 114111 h 190215"/>
                <a:gd name="connsiteX39" fmla="*/ 139160 w 179117"/>
                <a:gd name="connsiteY39" fmla="*/ 114111 h 190215"/>
                <a:gd name="connsiteX40" fmla="*/ 136969 w 179117"/>
                <a:gd name="connsiteY40" fmla="*/ 119350 h 190215"/>
                <a:gd name="connsiteX41" fmla="*/ 167830 w 179117"/>
                <a:gd name="connsiteY41" fmla="*/ 150211 h 190215"/>
                <a:gd name="connsiteX42" fmla="*/ 167926 w 179117"/>
                <a:gd name="connsiteY42" fmla="*/ 164498 h 190215"/>
                <a:gd name="connsiteX43" fmla="*/ 165354 w 179117"/>
                <a:gd name="connsiteY43" fmla="*/ 167070 h 190215"/>
                <a:gd name="connsiteX44" fmla="*/ 145637 w 179117"/>
                <a:gd name="connsiteY44" fmla="*/ 166975 h 190215"/>
                <a:gd name="connsiteX45" fmla="*/ 109347 w 179117"/>
                <a:gd name="connsiteY45" fmla="*/ 132399 h 190215"/>
                <a:gd name="connsiteX46" fmla="*/ 104680 w 179117"/>
                <a:gd name="connsiteY46" fmla="*/ 134018 h 190215"/>
                <a:gd name="connsiteX47" fmla="*/ 103441 w 179117"/>
                <a:gd name="connsiteY47" fmla="*/ 168785 h 190215"/>
                <a:gd name="connsiteX48" fmla="*/ 96298 w 179117"/>
                <a:gd name="connsiteY48" fmla="*/ 190216 h 190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79117" h="190215">
                  <a:moveTo>
                    <a:pt x="96298" y="190216"/>
                  </a:moveTo>
                  <a:lnTo>
                    <a:pt x="82772" y="190216"/>
                  </a:lnTo>
                  <a:cubicBezTo>
                    <a:pt x="76422" y="185199"/>
                    <a:pt x="74358" y="171579"/>
                    <a:pt x="76581" y="149354"/>
                  </a:cubicBezTo>
                  <a:cubicBezTo>
                    <a:pt x="77914" y="135765"/>
                    <a:pt x="73755" y="133796"/>
                    <a:pt x="64103" y="143448"/>
                  </a:cubicBezTo>
                  <a:lnTo>
                    <a:pt x="40100" y="167451"/>
                  </a:lnTo>
                  <a:cubicBezTo>
                    <a:pt x="35846" y="171706"/>
                    <a:pt x="31147" y="172341"/>
                    <a:pt x="26003" y="169356"/>
                  </a:cubicBezTo>
                  <a:cubicBezTo>
                    <a:pt x="23781" y="168023"/>
                    <a:pt x="22193" y="166689"/>
                    <a:pt x="21241" y="165356"/>
                  </a:cubicBezTo>
                  <a:cubicBezTo>
                    <a:pt x="16288" y="158371"/>
                    <a:pt x="16827" y="151862"/>
                    <a:pt x="22860" y="145829"/>
                  </a:cubicBezTo>
                  <a:lnTo>
                    <a:pt x="48387" y="120302"/>
                  </a:lnTo>
                  <a:cubicBezTo>
                    <a:pt x="52705" y="115984"/>
                    <a:pt x="51816" y="113825"/>
                    <a:pt x="45720" y="113825"/>
                  </a:cubicBezTo>
                  <a:lnTo>
                    <a:pt x="12573" y="113825"/>
                  </a:lnTo>
                  <a:cubicBezTo>
                    <a:pt x="4191" y="113825"/>
                    <a:pt x="0" y="109634"/>
                    <a:pt x="0" y="101252"/>
                  </a:cubicBezTo>
                  <a:lnTo>
                    <a:pt x="0" y="96966"/>
                  </a:lnTo>
                  <a:cubicBezTo>
                    <a:pt x="0" y="89346"/>
                    <a:pt x="3810" y="85536"/>
                    <a:pt x="11430" y="85536"/>
                  </a:cubicBezTo>
                  <a:lnTo>
                    <a:pt x="47815" y="85536"/>
                  </a:lnTo>
                  <a:cubicBezTo>
                    <a:pt x="52578" y="85536"/>
                    <a:pt x="53404" y="83790"/>
                    <a:pt x="50292" y="80297"/>
                  </a:cubicBezTo>
                  <a:lnTo>
                    <a:pt x="18002" y="43340"/>
                  </a:lnTo>
                  <a:cubicBezTo>
                    <a:pt x="15653" y="40673"/>
                    <a:pt x="16129" y="37848"/>
                    <a:pt x="19431" y="34863"/>
                  </a:cubicBezTo>
                  <a:cubicBezTo>
                    <a:pt x="22860" y="31688"/>
                    <a:pt x="26194" y="29497"/>
                    <a:pt x="29432" y="28291"/>
                  </a:cubicBezTo>
                  <a:cubicBezTo>
                    <a:pt x="33623" y="26703"/>
                    <a:pt x="37274" y="27497"/>
                    <a:pt x="40386" y="30672"/>
                  </a:cubicBezTo>
                  <a:lnTo>
                    <a:pt x="69342" y="59533"/>
                  </a:lnTo>
                  <a:cubicBezTo>
                    <a:pt x="72326" y="62517"/>
                    <a:pt x="73882" y="61882"/>
                    <a:pt x="74009" y="57628"/>
                  </a:cubicBezTo>
                  <a:lnTo>
                    <a:pt x="74866" y="14003"/>
                  </a:lnTo>
                  <a:cubicBezTo>
                    <a:pt x="75120" y="4859"/>
                    <a:pt x="79565" y="287"/>
                    <a:pt x="88201" y="287"/>
                  </a:cubicBezTo>
                  <a:cubicBezTo>
                    <a:pt x="89281" y="287"/>
                    <a:pt x="89852" y="256"/>
                    <a:pt x="89916" y="192"/>
                  </a:cubicBezTo>
                  <a:cubicBezTo>
                    <a:pt x="95849" y="-1068"/>
                    <a:pt x="101673" y="4000"/>
                    <a:pt x="102922" y="11512"/>
                  </a:cubicBezTo>
                  <a:cubicBezTo>
                    <a:pt x="103064" y="12367"/>
                    <a:pt x="103142" y="13232"/>
                    <a:pt x="103156" y="14099"/>
                  </a:cubicBezTo>
                  <a:lnTo>
                    <a:pt x="103727" y="49246"/>
                  </a:lnTo>
                  <a:cubicBezTo>
                    <a:pt x="103854" y="53945"/>
                    <a:pt x="105569" y="54643"/>
                    <a:pt x="108871" y="51341"/>
                  </a:cubicBezTo>
                  <a:lnTo>
                    <a:pt x="137255" y="22957"/>
                  </a:lnTo>
                  <a:cubicBezTo>
                    <a:pt x="143224" y="16988"/>
                    <a:pt x="149161" y="16988"/>
                    <a:pt x="155067" y="22957"/>
                  </a:cubicBezTo>
                  <a:lnTo>
                    <a:pt x="157258" y="25148"/>
                  </a:lnTo>
                  <a:cubicBezTo>
                    <a:pt x="162274" y="30101"/>
                    <a:pt x="162369" y="35181"/>
                    <a:pt x="157543" y="40388"/>
                  </a:cubicBezTo>
                  <a:lnTo>
                    <a:pt x="121444" y="79250"/>
                  </a:lnTo>
                  <a:cubicBezTo>
                    <a:pt x="117761" y="83250"/>
                    <a:pt x="118681" y="85282"/>
                    <a:pt x="124206" y="85346"/>
                  </a:cubicBezTo>
                  <a:lnTo>
                    <a:pt x="167354" y="85727"/>
                  </a:lnTo>
                  <a:cubicBezTo>
                    <a:pt x="171990" y="85790"/>
                    <a:pt x="175768" y="89410"/>
                    <a:pt x="178689" y="96585"/>
                  </a:cubicBezTo>
                  <a:cubicBezTo>
                    <a:pt x="179260" y="97919"/>
                    <a:pt x="179261" y="99601"/>
                    <a:pt x="178689" y="101633"/>
                  </a:cubicBezTo>
                  <a:cubicBezTo>
                    <a:pt x="176466" y="109952"/>
                    <a:pt x="171069" y="114111"/>
                    <a:pt x="162496" y="114111"/>
                  </a:cubicBezTo>
                  <a:lnTo>
                    <a:pt x="139160" y="114111"/>
                  </a:lnTo>
                  <a:cubicBezTo>
                    <a:pt x="134144" y="114111"/>
                    <a:pt x="133413" y="115857"/>
                    <a:pt x="136969" y="119350"/>
                  </a:cubicBezTo>
                  <a:lnTo>
                    <a:pt x="167830" y="150211"/>
                  </a:lnTo>
                  <a:cubicBezTo>
                    <a:pt x="171780" y="154176"/>
                    <a:pt x="171822" y="160554"/>
                    <a:pt x="167926" y="164498"/>
                  </a:cubicBezTo>
                  <a:cubicBezTo>
                    <a:pt x="166338" y="166086"/>
                    <a:pt x="165481" y="166943"/>
                    <a:pt x="165354" y="167070"/>
                  </a:cubicBezTo>
                  <a:cubicBezTo>
                    <a:pt x="159131" y="173611"/>
                    <a:pt x="152559" y="173579"/>
                    <a:pt x="145637" y="166975"/>
                  </a:cubicBezTo>
                  <a:lnTo>
                    <a:pt x="109347" y="132399"/>
                  </a:lnTo>
                  <a:cubicBezTo>
                    <a:pt x="106934" y="130050"/>
                    <a:pt x="105378" y="130589"/>
                    <a:pt x="104680" y="134018"/>
                  </a:cubicBezTo>
                  <a:cubicBezTo>
                    <a:pt x="102775" y="144369"/>
                    <a:pt x="102362" y="155958"/>
                    <a:pt x="103441" y="168785"/>
                  </a:cubicBezTo>
                  <a:cubicBezTo>
                    <a:pt x="104203" y="177357"/>
                    <a:pt x="101822" y="184501"/>
                    <a:pt x="96298" y="19021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-form: Shape 3661">
              <a:extLst>
                <a:ext uri="{FF2B5EF4-FFF2-40B4-BE49-F238E27FC236}">
                  <a16:creationId xmlns:a16="http://schemas.microsoft.com/office/drawing/2014/main" id="{7C0D9B06-6C16-48CE-651A-FB8AD72508BE}"/>
                </a:ext>
              </a:extLst>
            </p:cNvPr>
            <p:cNvSpPr/>
            <p:nvPr/>
          </p:nvSpPr>
          <p:spPr>
            <a:xfrm>
              <a:off x="21602455" y="8860888"/>
              <a:ext cx="179710" cy="190085"/>
            </a:xfrm>
            <a:custGeom>
              <a:avLst/>
              <a:gdLst>
                <a:gd name="connsiteX0" fmla="*/ 96869 w 179710"/>
                <a:gd name="connsiteY0" fmla="*/ 190086 h 190085"/>
                <a:gd name="connsiteX1" fmla="*/ 83248 w 179710"/>
                <a:gd name="connsiteY1" fmla="*/ 190086 h 190085"/>
                <a:gd name="connsiteX2" fmla="*/ 74390 w 179710"/>
                <a:gd name="connsiteY2" fmla="*/ 140080 h 190085"/>
                <a:gd name="connsiteX3" fmla="*/ 69342 w 179710"/>
                <a:gd name="connsiteY3" fmla="*/ 138556 h 190085"/>
                <a:gd name="connsiteX4" fmla="*/ 40577 w 179710"/>
                <a:gd name="connsiteY4" fmla="*/ 167321 h 190085"/>
                <a:gd name="connsiteX5" fmla="*/ 26479 w 179710"/>
                <a:gd name="connsiteY5" fmla="*/ 169131 h 190085"/>
                <a:gd name="connsiteX6" fmla="*/ 21908 w 179710"/>
                <a:gd name="connsiteY6" fmla="*/ 165321 h 190085"/>
                <a:gd name="connsiteX7" fmla="*/ 23336 w 179710"/>
                <a:gd name="connsiteY7" fmla="*/ 145795 h 190085"/>
                <a:gd name="connsiteX8" fmla="*/ 48863 w 179710"/>
                <a:gd name="connsiteY8" fmla="*/ 120172 h 190085"/>
                <a:gd name="connsiteX9" fmla="*/ 46387 w 179710"/>
                <a:gd name="connsiteY9" fmla="*/ 114077 h 190085"/>
                <a:gd name="connsiteX10" fmla="*/ 13525 w 179710"/>
                <a:gd name="connsiteY10" fmla="*/ 113505 h 190085"/>
                <a:gd name="connsiteX11" fmla="*/ 0 w 179710"/>
                <a:gd name="connsiteY11" fmla="*/ 99598 h 190085"/>
                <a:gd name="connsiteX12" fmla="*/ 1048 w 179710"/>
                <a:gd name="connsiteY12" fmla="*/ 95217 h 190085"/>
                <a:gd name="connsiteX13" fmla="*/ 15812 w 179710"/>
                <a:gd name="connsiteY13" fmla="*/ 85120 h 190085"/>
                <a:gd name="connsiteX14" fmla="*/ 49149 w 179710"/>
                <a:gd name="connsiteY14" fmla="*/ 85120 h 190085"/>
                <a:gd name="connsiteX15" fmla="*/ 51054 w 179710"/>
                <a:gd name="connsiteY15" fmla="*/ 80644 h 190085"/>
                <a:gd name="connsiteX16" fmla="*/ 21431 w 179710"/>
                <a:gd name="connsiteY16" fmla="*/ 51021 h 190085"/>
                <a:gd name="connsiteX17" fmla="*/ 21431 w 179710"/>
                <a:gd name="connsiteY17" fmla="*/ 33876 h 190085"/>
                <a:gd name="connsiteX18" fmla="*/ 24860 w 179710"/>
                <a:gd name="connsiteY18" fmla="*/ 30447 h 190085"/>
                <a:gd name="connsiteX19" fmla="*/ 40005 w 179710"/>
                <a:gd name="connsiteY19" fmla="*/ 30352 h 190085"/>
                <a:gd name="connsiteX20" fmla="*/ 70580 w 179710"/>
                <a:gd name="connsiteY20" fmla="*/ 61022 h 190085"/>
                <a:gd name="connsiteX21" fmla="*/ 74962 w 179710"/>
                <a:gd name="connsiteY21" fmla="*/ 59308 h 190085"/>
                <a:gd name="connsiteX22" fmla="*/ 75438 w 179710"/>
                <a:gd name="connsiteY22" fmla="*/ 13873 h 190085"/>
                <a:gd name="connsiteX23" fmla="*/ 88583 w 179710"/>
                <a:gd name="connsiteY23" fmla="*/ 157 h 190085"/>
                <a:gd name="connsiteX24" fmla="*/ 90488 w 179710"/>
                <a:gd name="connsiteY24" fmla="*/ 157 h 190085"/>
                <a:gd name="connsiteX25" fmla="*/ 103536 w 179710"/>
                <a:gd name="connsiteY25" fmla="*/ 11730 h 190085"/>
                <a:gd name="connsiteX26" fmla="*/ 103727 w 179710"/>
                <a:gd name="connsiteY26" fmla="*/ 13969 h 190085"/>
                <a:gd name="connsiteX27" fmla="*/ 104299 w 179710"/>
                <a:gd name="connsiteY27" fmla="*/ 49116 h 190085"/>
                <a:gd name="connsiteX28" fmla="*/ 109442 w 179710"/>
                <a:gd name="connsiteY28" fmla="*/ 51116 h 190085"/>
                <a:gd name="connsiteX29" fmla="*/ 138875 w 179710"/>
                <a:gd name="connsiteY29" fmla="*/ 21779 h 190085"/>
                <a:gd name="connsiteX30" fmla="*/ 154567 w 179710"/>
                <a:gd name="connsiteY30" fmla="*/ 21756 h 190085"/>
                <a:gd name="connsiteX31" fmla="*/ 154591 w 179710"/>
                <a:gd name="connsiteY31" fmla="*/ 21779 h 190085"/>
                <a:gd name="connsiteX32" fmla="*/ 158782 w 179710"/>
                <a:gd name="connsiteY32" fmla="*/ 25875 h 190085"/>
                <a:gd name="connsiteX33" fmla="*/ 158782 w 179710"/>
                <a:gd name="connsiteY33" fmla="*/ 41115 h 190085"/>
                <a:gd name="connsiteX34" fmla="*/ 120110 w 179710"/>
                <a:gd name="connsiteY34" fmla="*/ 79786 h 190085"/>
                <a:gd name="connsiteX35" fmla="*/ 122301 w 179710"/>
                <a:gd name="connsiteY35" fmla="*/ 85120 h 190085"/>
                <a:gd name="connsiteX36" fmla="*/ 169831 w 179710"/>
                <a:gd name="connsiteY36" fmla="*/ 85692 h 190085"/>
                <a:gd name="connsiteX37" fmla="*/ 179451 w 179710"/>
                <a:gd name="connsiteY37" fmla="*/ 97217 h 190085"/>
                <a:gd name="connsiteX38" fmla="*/ 179070 w 179710"/>
                <a:gd name="connsiteY38" fmla="*/ 102647 h 190085"/>
                <a:gd name="connsiteX39" fmla="*/ 163259 w 179710"/>
                <a:gd name="connsiteY39" fmla="*/ 113886 h 190085"/>
                <a:gd name="connsiteX40" fmla="*/ 132683 w 179710"/>
                <a:gd name="connsiteY40" fmla="*/ 113886 h 190085"/>
                <a:gd name="connsiteX41" fmla="*/ 129921 w 179710"/>
                <a:gd name="connsiteY41" fmla="*/ 120553 h 190085"/>
                <a:gd name="connsiteX42" fmla="*/ 159925 w 179710"/>
                <a:gd name="connsiteY42" fmla="*/ 150557 h 190085"/>
                <a:gd name="connsiteX43" fmla="*/ 161544 w 179710"/>
                <a:gd name="connsiteY43" fmla="*/ 158749 h 190085"/>
                <a:gd name="connsiteX44" fmla="*/ 153257 w 179710"/>
                <a:gd name="connsiteY44" fmla="*/ 170274 h 190085"/>
                <a:gd name="connsiteX45" fmla="*/ 145256 w 179710"/>
                <a:gd name="connsiteY45" fmla="*/ 170560 h 190085"/>
                <a:gd name="connsiteX46" fmla="*/ 108680 w 179710"/>
                <a:gd name="connsiteY46" fmla="*/ 139127 h 190085"/>
                <a:gd name="connsiteX47" fmla="*/ 104680 w 179710"/>
                <a:gd name="connsiteY47" fmla="*/ 141223 h 190085"/>
                <a:gd name="connsiteX48" fmla="*/ 104204 w 179710"/>
                <a:gd name="connsiteY48" fmla="*/ 166273 h 190085"/>
                <a:gd name="connsiteX49" fmla="*/ 96869 w 179710"/>
                <a:gd name="connsiteY49" fmla="*/ 190086 h 190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179710" h="190085">
                  <a:moveTo>
                    <a:pt x="96869" y="190086"/>
                  </a:moveTo>
                  <a:lnTo>
                    <a:pt x="83248" y="190086"/>
                  </a:lnTo>
                  <a:cubicBezTo>
                    <a:pt x="69342" y="178847"/>
                    <a:pt x="77533" y="155320"/>
                    <a:pt x="74390" y="140080"/>
                  </a:cubicBezTo>
                  <a:cubicBezTo>
                    <a:pt x="73628" y="136460"/>
                    <a:pt x="71946" y="135952"/>
                    <a:pt x="69342" y="138556"/>
                  </a:cubicBezTo>
                  <a:lnTo>
                    <a:pt x="40577" y="167321"/>
                  </a:lnTo>
                  <a:cubicBezTo>
                    <a:pt x="36385" y="171576"/>
                    <a:pt x="31687" y="172179"/>
                    <a:pt x="26479" y="169131"/>
                  </a:cubicBezTo>
                  <a:cubicBezTo>
                    <a:pt x="24447" y="167988"/>
                    <a:pt x="22924" y="166718"/>
                    <a:pt x="21908" y="165321"/>
                  </a:cubicBezTo>
                  <a:cubicBezTo>
                    <a:pt x="16701" y="158399"/>
                    <a:pt x="17177" y="151891"/>
                    <a:pt x="23336" y="145795"/>
                  </a:cubicBezTo>
                  <a:lnTo>
                    <a:pt x="48863" y="120172"/>
                  </a:lnTo>
                  <a:cubicBezTo>
                    <a:pt x="52864" y="116236"/>
                    <a:pt x="52038" y="114204"/>
                    <a:pt x="46387" y="114077"/>
                  </a:cubicBezTo>
                  <a:lnTo>
                    <a:pt x="13525" y="113505"/>
                  </a:lnTo>
                  <a:cubicBezTo>
                    <a:pt x="5080" y="113378"/>
                    <a:pt x="572" y="108743"/>
                    <a:pt x="0" y="99598"/>
                  </a:cubicBezTo>
                  <a:cubicBezTo>
                    <a:pt x="0" y="98646"/>
                    <a:pt x="349" y="97186"/>
                    <a:pt x="1048" y="95217"/>
                  </a:cubicBezTo>
                  <a:cubicBezTo>
                    <a:pt x="3651" y="88486"/>
                    <a:pt x="8573" y="85120"/>
                    <a:pt x="15812" y="85120"/>
                  </a:cubicBezTo>
                  <a:lnTo>
                    <a:pt x="49149" y="85120"/>
                  </a:lnTo>
                  <a:cubicBezTo>
                    <a:pt x="53404" y="85120"/>
                    <a:pt x="54038" y="83628"/>
                    <a:pt x="51054" y="80644"/>
                  </a:cubicBezTo>
                  <a:lnTo>
                    <a:pt x="21431" y="51021"/>
                  </a:lnTo>
                  <a:cubicBezTo>
                    <a:pt x="15653" y="45306"/>
                    <a:pt x="15653" y="39591"/>
                    <a:pt x="21431" y="33876"/>
                  </a:cubicBezTo>
                  <a:cubicBezTo>
                    <a:pt x="22130" y="33178"/>
                    <a:pt x="23273" y="32034"/>
                    <a:pt x="24860" y="30447"/>
                  </a:cubicBezTo>
                  <a:cubicBezTo>
                    <a:pt x="29877" y="25367"/>
                    <a:pt x="34925" y="25335"/>
                    <a:pt x="40005" y="30352"/>
                  </a:cubicBezTo>
                  <a:lnTo>
                    <a:pt x="70580" y="61022"/>
                  </a:lnTo>
                  <a:cubicBezTo>
                    <a:pt x="73438" y="63880"/>
                    <a:pt x="74898" y="63308"/>
                    <a:pt x="74962" y="59308"/>
                  </a:cubicBezTo>
                  <a:lnTo>
                    <a:pt x="75438" y="13873"/>
                  </a:lnTo>
                  <a:cubicBezTo>
                    <a:pt x="75565" y="4793"/>
                    <a:pt x="79947" y="221"/>
                    <a:pt x="88583" y="157"/>
                  </a:cubicBezTo>
                  <a:cubicBezTo>
                    <a:pt x="89726" y="157"/>
                    <a:pt x="90361" y="157"/>
                    <a:pt x="90488" y="157"/>
                  </a:cubicBezTo>
                  <a:cubicBezTo>
                    <a:pt x="96547" y="-983"/>
                    <a:pt x="102389" y="4198"/>
                    <a:pt x="103536" y="11730"/>
                  </a:cubicBezTo>
                  <a:cubicBezTo>
                    <a:pt x="103649" y="12471"/>
                    <a:pt x="103713" y="13220"/>
                    <a:pt x="103727" y="13969"/>
                  </a:cubicBezTo>
                  <a:lnTo>
                    <a:pt x="104299" y="49116"/>
                  </a:lnTo>
                  <a:cubicBezTo>
                    <a:pt x="104426" y="53815"/>
                    <a:pt x="106140" y="54482"/>
                    <a:pt x="109442" y="51116"/>
                  </a:cubicBezTo>
                  <a:lnTo>
                    <a:pt x="138875" y="21779"/>
                  </a:lnTo>
                  <a:cubicBezTo>
                    <a:pt x="143164" y="17439"/>
                    <a:pt x="150190" y="17429"/>
                    <a:pt x="154567" y="21756"/>
                  </a:cubicBezTo>
                  <a:cubicBezTo>
                    <a:pt x="154575" y="21764"/>
                    <a:pt x="154583" y="21771"/>
                    <a:pt x="154591" y="21779"/>
                  </a:cubicBezTo>
                  <a:lnTo>
                    <a:pt x="158782" y="25875"/>
                  </a:lnTo>
                  <a:cubicBezTo>
                    <a:pt x="163862" y="30955"/>
                    <a:pt x="163862" y="36035"/>
                    <a:pt x="158782" y="41115"/>
                  </a:cubicBezTo>
                  <a:lnTo>
                    <a:pt x="120110" y="79786"/>
                  </a:lnTo>
                  <a:cubicBezTo>
                    <a:pt x="116618" y="83279"/>
                    <a:pt x="117348" y="85057"/>
                    <a:pt x="122301" y="85120"/>
                  </a:cubicBezTo>
                  <a:lnTo>
                    <a:pt x="169831" y="85692"/>
                  </a:lnTo>
                  <a:cubicBezTo>
                    <a:pt x="173641" y="85755"/>
                    <a:pt x="176848" y="89597"/>
                    <a:pt x="179451" y="97217"/>
                  </a:cubicBezTo>
                  <a:cubicBezTo>
                    <a:pt x="179895" y="98551"/>
                    <a:pt x="179768" y="100360"/>
                    <a:pt x="179070" y="102647"/>
                  </a:cubicBezTo>
                  <a:cubicBezTo>
                    <a:pt x="176530" y="110140"/>
                    <a:pt x="171260" y="113886"/>
                    <a:pt x="163259" y="113886"/>
                  </a:cubicBezTo>
                  <a:lnTo>
                    <a:pt x="132683" y="113886"/>
                  </a:lnTo>
                  <a:cubicBezTo>
                    <a:pt x="126460" y="113886"/>
                    <a:pt x="125540" y="116109"/>
                    <a:pt x="129921" y="120553"/>
                  </a:cubicBezTo>
                  <a:lnTo>
                    <a:pt x="159925" y="150557"/>
                  </a:lnTo>
                  <a:cubicBezTo>
                    <a:pt x="162274" y="152907"/>
                    <a:pt x="162814" y="155637"/>
                    <a:pt x="161544" y="158749"/>
                  </a:cubicBezTo>
                  <a:cubicBezTo>
                    <a:pt x="159385" y="163829"/>
                    <a:pt x="156623" y="167670"/>
                    <a:pt x="153257" y="170274"/>
                  </a:cubicBezTo>
                  <a:cubicBezTo>
                    <a:pt x="150400" y="172560"/>
                    <a:pt x="147733" y="172655"/>
                    <a:pt x="145256" y="170560"/>
                  </a:cubicBezTo>
                  <a:lnTo>
                    <a:pt x="108680" y="139127"/>
                  </a:lnTo>
                  <a:cubicBezTo>
                    <a:pt x="106521" y="137286"/>
                    <a:pt x="105188" y="137984"/>
                    <a:pt x="104680" y="141223"/>
                  </a:cubicBezTo>
                  <a:cubicBezTo>
                    <a:pt x="103473" y="149478"/>
                    <a:pt x="103314" y="157828"/>
                    <a:pt x="104204" y="166273"/>
                  </a:cubicBezTo>
                  <a:cubicBezTo>
                    <a:pt x="105220" y="175798"/>
                    <a:pt x="102775" y="183736"/>
                    <a:pt x="96869" y="1900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43" name="Snowflak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24BB566-3DAE-269E-A8E7-CEDABF978C5B}"/>
              </a:ext>
            </a:extLst>
          </p:cNvPr>
          <p:cNvGrpSpPr>
            <a:grpSpLocks noChangeAspect="1"/>
          </p:cNvGrpSpPr>
          <p:nvPr/>
        </p:nvGrpSpPr>
        <p:grpSpPr>
          <a:xfrm>
            <a:off x="7323846" y="3330053"/>
            <a:ext cx="894314" cy="1014222"/>
            <a:chOff x="1171092" y="2673797"/>
            <a:chExt cx="1058655" cy="1200597"/>
          </a:xfrm>
          <a:solidFill>
            <a:schemeClr val="tx1"/>
          </a:solidFill>
        </p:grpSpPr>
        <p:sp>
          <p:nvSpPr>
            <p:cNvPr id="44" name="Free-form: Shape 464">
              <a:extLst>
                <a:ext uri="{FF2B5EF4-FFF2-40B4-BE49-F238E27FC236}">
                  <a16:creationId xmlns:a16="http://schemas.microsoft.com/office/drawing/2014/main" id="{24D7B407-6947-9191-88A6-39417844C625}"/>
                </a:ext>
              </a:extLst>
            </p:cNvPr>
            <p:cNvSpPr/>
            <p:nvPr/>
          </p:nvSpPr>
          <p:spPr>
            <a:xfrm>
              <a:off x="1171092" y="2673797"/>
              <a:ext cx="1058655" cy="1200597"/>
            </a:xfrm>
            <a:custGeom>
              <a:avLst/>
              <a:gdLst>
                <a:gd name="connsiteX0" fmla="*/ 533290 w 1058655"/>
                <a:gd name="connsiteY0" fmla="*/ 0 h 1200597"/>
                <a:gd name="connsiteX1" fmla="*/ 587465 w 1058655"/>
                <a:gd name="connsiteY1" fmla="*/ 34303 h 1200597"/>
                <a:gd name="connsiteX2" fmla="*/ 599530 w 1058655"/>
                <a:gd name="connsiteY2" fmla="*/ 62159 h 1200597"/>
                <a:gd name="connsiteX3" fmla="*/ 599885 w 1058655"/>
                <a:gd name="connsiteY3" fmla="*/ 166487 h 1200597"/>
                <a:gd name="connsiteX4" fmla="*/ 603138 w 1058655"/>
                <a:gd name="connsiteY4" fmla="*/ 168379 h 1200597"/>
                <a:gd name="connsiteX5" fmla="*/ 653113 w 1058655"/>
                <a:gd name="connsiteY5" fmla="*/ 139518 h 1200597"/>
                <a:gd name="connsiteX6" fmla="*/ 675233 w 1058655"/>
                <a:gd name="connsiteY6" fmla="*/ 139518 h 1200597"/>
                <a:gd name="connsiteX7" fmla="*/ 721837 w 1058655"/>
                <a:gd name="connsiteY7" fmla="*/ 166428 h 1200597"/>
                <a:gd name="connsiteX8" fmla="*/ 731418 w 1058655"/>
                <a:gd name="connsiteY8" fmla="*/ 182988 h 1200597"/>
                <a:gd name="connsiteX9" fmla="*/ 731418 w 1058655"/>
                <a:gd name="connsiteY9" fmla="*/ 233732 h 1200597"/>
                <a:gd name="connsiteX10" fmla="*/ 721187 w 1058655"/>
                <a:gd name="connsiteY10" fmla="*/ 251475 h 1200597"/>
                <a:gd name="connsiteX11" fmla="*/ 603019 w 1058655"/>
                <a:gd name="connsiteY11" fmla="*/ 319666 h 1200597"/>
                <a:gd name="connsiteX12" fmla="*/ 601304 w 1058655"/>
                <a:gd name="connsiteY12" fmla="*/ 322742 h 1200597"/>
                <a:gd name="connsiteX13" fmla="*/ 601304 w 1058655"/>
                <a:gd name="connsiteY13" fmla="*/ 371298 h 1200597"/>
                <a:gd name="connsiteX14" fmla="*/ 602191 w 1058655"/>
                <a:gd name="connsiteY14" fmla="*/ 371830 h 1200597"/>
                <a:gd name="connsiteX15" fmla="*/ 659087 w 1058655"/>
                <a:gd name="connsiteY15" fmla="*/ 337232 h 1200597"/>
                <a:gd name="connsiteX16" fmla="*/ 687855 w 1058655"/>
                <a:gd name="connsiteY16" fmla="*/ 344236 h 1200597"/>
                <a:gd name="connsiteX17" fmla="*/ 690905 w 1058655"/>
                <a:gd name="connsiteY17" fmla="*/ 355093 h 1200597"/>
                <a:gd name="connsiteX18" fmla="*/ 690905 w 1058655"/>
                <a:gd name="connsiteY18" fmla="*/ 428016 h 1200597"/>
                <a:gd name="connsiteX19" fmla="*/ 691638 w 1058655"/>
                <a:gd name="connsiteY19" fmla="*/ 428702 h 1200597"/>
                <a:gd name="connsiteX20" fmla="*/ 691970 w 1058655"/>
                <a:gd name="connsiteY20" fmla="*/ 428607 h 1200597"/>
                <a:gd name="connsiteX21" fmla="*/ 740053 w 1058655"/>
                <a:gd name="connsiteY21" fmla="*/ 400869 h 1200597"/>
                <a:gd name="connsiteX22" fmla="*/ 741059 w 1058655"/>
                <a:gd name="connsiteY22" fmla="*/ 399095 h 1200597"/>
                <a:gd name="connsiteX23" fmla="*/ 741059 w 1058655"/>
                <a:gd name="connsiteY23" fmla="*/ 256029 h 1200597"/>
                <a:gd name="connsiteX24" fmla="*/ 753597 w 1058655"/>
                <a:gd name="connsiteY24" fmla="*/ 236393 h 1200597"/>
                <a:gd name="connsiteX25" fmla="*/ 797008 w 1058655"/>
                <a:gd name="connsiteY25" fmla="*/ 216285 h 1200597"/>
                <a:gd name="connsiteX26" fmla="*/ 813390 w 1058655"/>
                <a:gd name="connsiteY26" fmla="*/ 215693 h 1200597"/>
                <a:gd name="connsiteX27" fmla="*/ 862242 w 1058655"/>
                <a:gd name="connsiteY27" fmla="*/ 237221 h 1200597"/>
                <a:gd name="connsiteX28" fmla="*/ 873834 w 1058655"/>
                <a:gd name="connsiteY28" fmla="*/ 261766 h 1200597"/>
                <a:gd name="connsiteX29" fmla="*/ 874071 w 1058655"/>
                <a:gd name="connsiteY29" fmla="*/ 318247 h 1200597"/>
                <a:gd name="connsiteX30" fmla="*/ 876909 w 1058655"/>
                <a:gd name="connsiteY30" fmla="*/ 319844 h 1200597"/>
                <a:gd name="connsiteX31" fmla="*/ 976802 w 1058655"/>
                <a:gd name="connsiteY31" fmla="*/ 265610 h 1200597"/>
                <a:gd name="connsiteX32" fmla="*/ 1000754 w 1058655"/>
                <a:gd name="connsiteY32" fmla="*/ 264959 h 1200597"/>
                <a:gd name="connsiteX33" fmla="*/ 1058655 w 1058655"/>
                <a:gd name="connsiteY33" fmla="*/ 305236 h 1200597"/>
                <a:gd name="connsiteX34" fmla="*/ 1058655 w 1058655"/>
                <a:gd name="connsiteY34" fmla="*/ 375970 h 1200597"/>
                <a:gd name="connsiteX35" fmla="*/ 948117 w 1058655"/>
                <a:gd name="connsiteY35" fmla="*/ 443925 h 1200597"/>
                <a:gd name="connsiteX36" fmla="*/ 947747 w 1058655"/>
                <a:gd name="connsiteY36" fmla="*/ 445211 h 1200597"/>
                <a:gd name="connsiteX37" fmla="*/ 948117 w 1058655"/>
                <a:gd name="connsiteY37" fmla="*/ 445581 h 1200597"/>
                <a:gd name="connsiteX38" fmla="*/ 997915 w 1058655"/>
                <a:gd name="connsiteY38" fmla="*/ 474325 h 1200597"/>
                <a:gd name="connsiteX39" fmla="*/ 1008620 w 1058655"/>
                <a:gd name="connsiteY39" fmla="*/ 492540 h 1200597"/>
                <a:gd name="connsiteX40" fmla="*/ 1008857 w 1058655"/>
                <a:gd name="connsiteY40" fmla="*/ 538908 h 1200597"/>
                <a:gd name="connsiteX41" fmla="*/ 994130 w 1058655"/>
                <a:gd name="connsiteY41" fmla="*/ 566883 h 1200597"/>
                <a:gd name="connsiteX42" fmla="*/ 956220 w 1058655"/>
                <a:gd name="connsiteY42" fmla="*/ 587701 h 1200597"/>
                <a:gd name="connsiteX43" fmla="*/ 933746 w 1058655"/>
                <a:gd name="connsiteY43" fmla="*/ 587346 h 1200597"/>
                <a:gd name="connsiteX44" fmla="*/ 816939 w 1058655"/>
                <a:gd name="connsiteY44" fmla="*/ 519924 h 1200597"/>
                <a:gd name="connsiteX45" fmla="*/ 815046 w 1058655"/>
                <a:gd name="connsiteY45" fmla="*/ 519983 h 1200597"/>
                <a:gd name="connsiteX46" fmla="*/ 767554 w 1058655"/>
                <a:gd name="connsiteY46" fmla="*/ 550086 h 1200597"/>
                <a:gd name="connsiteX47" fmla="*/ 766985 w 1058655"/>
                <a:gd name="connsiteY47" fmla="*/ 552616 h 1200597"/>
                <a:gd name="connsiteX48" fmla="*/ 767614 w 1058655"/>
                <a:gd name="connsiteY48" fmla="*/ 553221 h 1200597"/>
                <a:gd name="connsiteX49" fmla="*/ 823681 w 1058655"/>
                <a:gd name="connsiteY49" fmla="*/ 585572 h 1200597"/>
                <a:gd name="connsiteX50" fmla="*/ 831545 w 1058655"/>
                <a:gd name="connsiteY50" fmla="*/ 615049 h 1200597"/>
                <a:gd name="connsiteX51" fmla="*/ 823681 w 1058655"/>
                <a:gd name="connsiteY51" fmla="*/ 622891 h 1200597"/>
                <a:gd name="connsiteX52" fmla="*/ 768442 w 1058655"/>
                <a:gd name="connsiteY52" fmla="*/ 654769 h 1200597"/>
                <a:gd name="connsiteX53" fmla="*/ 768255 w 1058655"/>
                <a:gd name="connsiteY53" fmla="*/ 655498 h 1200597"/>
                <a:gd name="connsiteX54" fmla="*/ 768501 w 1058655"/>
                <a:gd name="connsiteY54" fmla="*/ 655715 h 1200597"/>
                <a:gd name="connsiteX55" fmla="*/ 814750 w 1058655"/>
                <a:gd name="connsiteY55" fmla="*/ 679905 h 1200597"/>
                <a:gd name="connsiteX56" fmla="*/ 817234 w 1058655"/>
                <a:gd name="connsiteY56" fmla="*/ 679845 h 1200597"/>
                <a:gd name="connsiteX57" fmla="*/ 933686 w 1058655"/>
                <a:gd name="connsiteY57" fmla="*/ 614315 h 1200597"/>
                <a:gd name="connsiteX58" fmla="*/ 957698 w 1058655"/>
                <a:gd name="connsiteY58" fmla="*/ 615794 h 1200597"/>
                <a:gd name="connsiteX59" fmla="*/ 998093 w 1058655"/>
                <a:gd name="connsiteY59" fmla="*/ 644656 h 1200597"/>
                <a:gd name="connsiteX60" fmla="*/ 1006787 w 1058655"/>
                <a:gd name="connsiteY60" fmla="*/ 661570 h 1200597"/>
                <a:gd name="connsiteX61" fmla="*/ 1006964 w 1058655"/>
                <a:gd name="connsiteY61" fmla="*/ 704981 h 1200597"/>
                <a:gd name="connsiteX62" fmla="*/ 989635 w 1058655"/>
                <a:gd name="connsiteY62" fmla="*/ 735321 h 1200597"/>
                <a:gd name="connsiteX63" fmla="*/ 949951 w 1058655"/>
                <a:gd name="connsiteY63" fmla="*/ 757855 h 1200597"/>
                <a:gd name="connsiteX64" fmla="*/ 949951 w 1058655"/>
                <a:gd name="connsiteY64" fmla="*/ 761226 h 1200597"/>
                <a:gd name="connsiteX65" fmla="*/ 1038547 w 1058655"/>
                <a:gd name="connsiteY65" fmla="*/ 814513 h 1200597"/>
                <a:gd name="connsiteX66" fmla="*/ 1053983 w 1058655"/>
                <a:gd name="connsiteY66" fmla="*/ 838584 h 1200597"/>
                <a:gd name="connsiteX67" fmla="*/ 1053805 w 1058655"/>
                <a:gd name="connsiteY67" fmla="*/ 897195 h 1200597"/>
                <a:gd name="connsiteX68" fmla="*/ 1042509 w 1058655"/>
                <a:gd name="connsiteY68" fmla="*/ 914642 h 1200597"/>
                <a:gd name="connsiteX69" fmla="*/ 985673 w 1058655"/>
                <a:gd name="connsiteY69" fmla="*/ 941020 h 1200597"/>
                <a:gd name="connsiteX70" fmla="*/ 971242 w 1058655"/>
                <a:gd name="connsiteY70" fmla="*/ 940369 h 1200597"/>
                <a:gd name="connsiteX71" fmla="*/ 877087 w 1058655"/>
                <a:gd name="connsiteY71" fmla="*/ 886017 h 1200597"/>
                <a:gd name="connsiteX72" fmla="*/ 873834 w 1058655"/>
                <a:gd name="connsiteY72" fmla="*/ 887910 h 1200597"/>
                <a:gd name="connsiteX73" fmla="*/ 873834 w 1058655"/>
                <a:gd name="connsiteY73" fmla="*/ 944568 h 1200597"/>
                <a:gd name="connsiteX74" fmla="*/ 864135 w 1058655"/>
                <a:gd name="connsiteY74" fmla="*/ 961601 h 1200597"/>
                <a:gd name="connsiteX75" fmla="*/ 817294 w 1058655"/>
                <a:gd name="connsiteY75" fmla="*/ 987447 h 1200597"/>
                <a:gd name="connsiteX76" fmla="*/ 797599 w 1058655"/>
                <a:gd name="connsiteY76" fmla="*/ 987151 h 1200597"/>
                <a:gd name="connsiteX77" fmla="*/ 757796 w 1058655"/>
                <a:gd name="connsiteY77" fmla="*/ 964795 h 1200597"/>
                <a:gd name="connsiteX78" fmla="*/ 742833 w 1058655"/>
                <a:gd name="connsiteY78" fmla="*/ 941789 h 1200597"/>
                <a:gd name="connsiteX79" fmla="*/ 742774 w 1058655"/>
                <a:gd name="connsiteY79" fmla="*/ 812798 h 1200597"/>
                <a:gd name="connsiteX80" fmla="*/ 741236 w 1058655"/>
                <a:gd name="connsiteY80" fmla="*/ 810196 h 1200597"/>
                <a:gd name="connsiteX81" fmla="*/ 691438 w 1058655"/>
                <a:gd name="connsiteY81" fmla="*/ 781453 h 1200597"/>
                <a:gd name="connsiteX82" fmla="*/ 690373 w 1058655"/>
                <a:gd name="connsiteY82" fmla="*/ 781748 h 1200597"/>
                <a:gd name="connsiteX83" fmla="*/ 690255 w 1058655"/>
                <a:gd name="connsiteY83" fmla="*/ 782221 h 1200597"/>
                <a:gd name="connsiteX84" fmla="*/ 690965 w 1058655"/>
                <a:gd name="connsiteY84" fmla="*/ 844262 h 1200597"/>
                <a:gd name="connsiteX85" fmla="*/ 657431 w 1058655"/>
                <a:gd name="connsiteY85" fmla="*/ 862419 h 1200597"/>
                <a:gd name="connsiteX86" fmla="*/ 602428 w 1058655"/>
                <a:gd name="connsiteY86" fmla="*/ 828649 h 1200597"/>
                <a:gd name="connsiteX87" fmla="*/ 601437 w 1058655"/>
                <a:gd name="connsiteY87" fmla="*/ 828811 h 1200597"/>
                <a:gd name="connsiteX88" fmla="*/ 601304 w 1058655"/>
                <a:gd name="connsiteY88" fmla="*/ 829240 h 1200597"/>
                <a:gd name="connsiteX89" fmla="*/ 601304 w 1058655"/>
                <a:gd name="connsiteY89" fmla="*/ 877974 h 1200597"/>
                <a:gd name="connsiteX90" fmla="*/ 603079 w 1058655"/>
                <a:gd name="connsiteY90" fmla="*/ 881108 h 1200597"/>
                <a:gd name="connsiteX91" fmla="*/ 715272 w 1058655"/>
                <a:gd name="connsiteY91" fmla="*/ 945869 h 1200597"/>
                <a:gd name="connsiteX92" fmla="*/ 727811 w 1058655"/>
                <a:gd name="connsiteY92" fmla="*/ 967161 h 1200597"/>
                <a:gd name="connsiteX93" fmla="*/ 727574 w 1058655"/>
                <a:gd name="connsiteY93" fmla="*/ 1021927 h 1200597"/>
                <a:gd name="connsiteX94" fmla="*/ 714267 w 1058655"/>
                <a:gd name="connsiteY94" fmla="*/ 1040971 h 1200597"/>
                <a:gd name="connsiteX95" fmla="*/ 673340 w 1058655"/>
                <a:gd name="connsiteY95" fmla="*/ 1061375 h 1200597"/>
                <a:gd name="connsiteX96" fmla="*/ 650688 w 1058655"/>
                <a:gd name="connsiteY96" fmla="*/ 1060547 h 1200597"/>
                <a:gd name="connsiteX97" fmla="*/ 602665 w 1058655"/>
                <a:gd name="connsiteY97" fmla="*/ 1032809 h 1200597"/>
                <a:gd name="connsiteX98" fmla="*/ 599471 w 1058655"/>
                <a:gd name="connsiteY98" fmla="*/ 1034702 h 1200597"/>
                <a:gd name="connsiteX99" fmla="*/ 599471 w 1058655"/>
                <a:gd name="connsiteY99" fmla="*/ 1148374 h 1200597"/>
                <a:gd name="connsiteX100" fmla="*/ 590304 w 1058655"/>
                <a:gd name="connsiteY100" fmla="*/ 1165052 h 1200597"/>
                <a:gd name="connsiteX101" fmla="*/ 533941 w 1058655"/>
                <a:gd name="connsiteY101" fmla="*/ 1200597 h 1200597"/>
                <a:gd name="connsiteX102" fmla="*/ 526370 w 1058655"/>
                <a:gd name="connsiteY102" fmla="*/ 1200597 h 1200597"/>
                <a:gd name="connsiteX103" fmla="*/ 469475 w 1058655"/>
                <a:gd name="connsiteY103" fmla="*/ 1165230 h 1200597"/>
                <a:gd name="connsiteX104" fmla="*/ 460249 w 1058655"/>
                <a:gd name="connsiteY104" fmla="*/ 1148492 h 1200597"/>
                <a:gd name="connsiteX105" fmla="*/ 460249 w 1058655"/>
                <a:gd name="connsiteY105" fmla="*/ 1034406 h 1200597"/>
                <a:gd name="connsiteX106" fmla="*/ 456878 w 1058655"/>
                <a:gd name="connsiteY106" fmla="*/ 1032454 h 1200597"/>
                <a:gd name="connsiteX107" fmla="*/ 407848 w 1058655"/>
                <a:gd name="connsiteY107" fmla="*/ 1060725 h 1200597"/>
                <a:gd name="connsiteX108" fmla="*/ 384191 w 1058655"/>
                <a:gd name="connsiteY108" fmla="*/ 1060725 h 1200597"/>
                <a:gd name="connsiteX109" fmla="*/ 345453 w 1058655"/>
                <a:gd name="connsiteY109" fmla="*/ 1038605 h 1200597"/>
                <a:gd name="connsiteX110" fmla="*/ 331732 w 1058655"/>
                <a:gd name="connsiteY110" fmla="*/ 1015776 h 1200597"/>
                <a:gd name="connsiteX111" fmla="*/ 331909 w 1058655"/>
                <a:gd name="connsiteY111" fmla="*/ 965268 h 1200597"/>
                <a:gd name="connsiteX112" fmla="*/ 342969 w 1058655"/>
                <a:gd name="connsiteY112" fmla="*/ 946402 h 1200597"/>
                <a:gd name="connsiteX113" fmla="*/ 455813 w 1058655"/>
                <a:gd name="connsiteY113" fmla="*/ 881226 h 1200597"/>
                <a:gd name="connsiteX114" fmla="*/ 457351 w 1058655"/>
                <a:gd name="connsiteY114" fmla="*/ 878624 h 1200597"/>
                <a:gd name="connsiteX115" fmla="*/ 457351 w 1058655"/>
                <a:gd name="connsiteY115" fmla="*/ 830364 h 1200597"/>
                <a:gd name="connsiteX116" fmla="*/ 456722 w 1058655"/>
                <a:gd name="connsiteY116" fmla="*/ 829812 h 1200597"/>
                <a:gd name="connsiteX117" fmla="*/ 456464 w 1058655"/>
                <a:gd name="connsiteY117" fmla="*/ 829890 h 1200597"/>
                <a:gd name="connsiteX118" fmla="*/ 398563 w 1058655"/>
                <a:gd name="connsiteY118" fmla="*/ 867387 h 1200597"/>
                <a:gd name="connsiteX119" fmla="*/ 365916 w 1058655"/>
                <a:gd name="connsiteY119" fmla="*/ 848461 h 1200597"/>
                <a:gd name="connsiteX120" fmla="*/ 365798 w 1058655"/>
                <a:gd name="connsiteY120" fmla="*/ 781216 h 1200597"/>
                <a:gd name="connsiteX121" fmla="*/ 365071 w 1058655"/>
                <a:gd name="connsiteY121" fmla="*/ 780611 h 1200597"/>
                <a:gd name="connsiteX122" fmla="*/ 364792 w 1058655"/>
                <a:gd name="connsiteY122" fmla="*/ 780684 h 1200597"/>
                <a:gd name="connsiteX123" fmla="*/ 321145 w 1058655"/>
                <a:gd name="connsiteY123" fmla="*/ 805879 h 1200597"/>
                <a:gd name="connsiteX124" fmla="*/ 319607 w 1058655"/>
                <a:gd name="connsiteY124" fmla="*/ 808599 h 1200597"/>
                <a:gd name="connsiteX125" fmla="*/ 319607 w 1058655"/>
                <a:gd name="connsiteY125" fmla="*/ 937530 h 1200597"/>
                <a:gd name="connsiteX126" fmla="*/ 308311 w 1058655"/>
                <a:gd name="connsiteY126" fmla="*/ 957994 h 1200597"/>
                <a:gd name="connsiteX127" fmla="*/ 264841 w 1058655"/>
                <a:gd name="connsiteY127" fmla="*/ 985081 h 1200597"/>
                <a:gd name="connsiteX128" fmla="*/ 235506 w 1058655"/>
                <a:gd name="connsiteY128" fmla="*/ 984253 h 1200597"/>
                <a:gd name="connsiteX129" fmla="*/ 198779 w 1058655"/>
                <a:gd name="connsiteY129" fmla="*/ 959827 h 1200597"/>
                <a:gd name="connsiteX130" fmla="*/ 189493 w 1058655"/>
                <a:gd name="connsiteY130" fmla="*/ 942794 h 1200597"/>
                <a:gd name="connsiteX131" fmla="*/ 189493 w 1058655"/>
                <a:gd name="connsiteY131" fmla="*/ 885307 h 1200597"/>
                <a:gd name="connsiteX132" fmla="*/ 185590 w 1058655"/>
                <a:gd name="connsiteY132" fmla="*/ 883060 h 1200597"/>
                <a:gd name="connsiteX133" fmla="*/ 89542 w 1058655"/>
                <a:gd name="connsiteY133" fmla="*/ 938358 h 1200597"/>
                <a:gd name="connsiteX134" fmla="*/ 66772 w 1058655"/>
                <a:gd name="connsiteY134" fmla="*/ 938772 h 1200597"/>
                <a:gd name="connsiteX135" fmla="*/ 18748 w 1058655"/>
                <a:gd name="connsiteY135" fmla="*/ 918605 h 1200597"/>
                <a:gd name="connsiteX136" fmla="*/ 0 w 1058655"/>
                <a:gd name="connsiteY136" fmla="*/ 900448 h 1200597"/>
                <a:gd name="connsiteX137" fmla="*/ 0 w 1058655"/>
                <a:gd name="connsiteY137" fmla="*/ 828116 h 1200597"/>
                <a:gd name="connsiteX138" fmla="*/ 113613 w 1058655"/>
                <a:gd name="connsiteY138" fmla="*/ 761226 h 1200597"/>
                <a:gd name="connsiteX139" fmla="*/ 113824 w 1058655"/>
                <a:gd name="connsiteY139" fmla="*/ 760574 h 1200597"/>
                <a:gd name="connsiteX140" fmla="*/ 113613 w 1058655"/>
                <a:gd name="connsiteY140" fmla="*/ 760339 h 1200597"/>
                <a:gd name="connsiteX141" fmla="*/ 62632 w 1058655"/>
                <a:gd name="connsiteY141" fmla="*/ 730886 h 1200597"/>
                <a:gd name="connsiteX142" fmla="*/ 52755 w 1058655"/>
                <a:gd name="connsiteY142" fmla="*/ 713734 h 1200597"/>
                <a:gd name="connsiteX143" fmla="*/ 52755 w 1058655"/>
                <a:gd name="connsiteY143" fmla="*/ 660092 h 1200597"/>
                <a:gd name="connsiteX144" fmla="*/ 63697 w 1058655"/>
                <a:gd name="connsiteY144" fmla="*/ 641166 h 1200597"/>
                <a:gd name="connsiteX145" fmla="*/ 110360 w 1058655"/>
                <a:gd name="connsiteY145" fmla="*/ 614197 h 1200597"/>
                <a:gd name="connsiteX146" fmla="*/ 131947 w 1058655"/>
                <a:gd name="connsiteY146" fmla="*/ 614197 h 1200597"/>
                <a:gd name="connsiteX147" fmla="*/ 247158 w 1058655"/>
                <a:gd name="connsiteY147" fmla="*/ 680733 h 1200597"/>
                <a:gd name="connsiteX148" fmla="*/ 249701 w 1058655"/>
                <a:gd name="connsiteY148" fmla="*/ 680733 h 1200597"/>
                <a:gd name="connsiteX149" fmla="*/ 292224 w 1058655"/>
                <a:gd name="connsiteY149" fmla="*/ 656248 h 1200597"/>
                <a:gd name="connsiteX150" fmla="*/ 292465 w 1058655"/>
                <a:gd name="connsiteY150" fmla="*/ 655187 h 1200597"/>
                <a:gd name="connsiteX151" fmla="*/ 292224 w 1058655"/>
                <a:gd name="connsiteY151" fmla="*/ 654946 h 1200597"/>
                <a:gd name="connsiteX152" fmla="*/ 233732 w 1058655"/>
                <a:gd name="connsiteY152" fmla="*/ 621176 h 1200597"/>
                <a:gd name="connsiteX153" fmla="*/ 225798 w 1058655"/>
                <a:gd name="connsiteY153" fmla="*/ 591437 h 1200597"/>
                <a:gd name="connsiteX154" fmla="*/ 233732 w 1058655"/>
                <a:gd name="connsiteY154" fmla="*/ 583502 h 1200597"/>
                <a:gd name="connsiteX155" fmla="*/ 289385 w 1058655"/>
                <a:gd name="connsiteY155" fmla="*/ 551388 h 1200597"/>
                <a:gd name="connsiteX156" fmla="*/ 289833 w 1058655"/>
                <a:gd name="connsiteY156" fmla="*/ 549626 h 1200597"/>
                <a:gd name="connsiteX157" fmla="*/ 289385 w 1058655"/>
                <a:gd name="connsiteY157" fmla="*/ 549199 h 1200597"/>
                <a:gd name="connsiteX158" fmla="*/ 244378 w 1058655"/>
                <a:gd name="connsiteY158" fmla="*/ 523176 h 1200597"/>
                <a:gd name="connsiteX159" fmla="*/ 241953 w 1058655"/>
                <a:gd name="connsiteY159" fmla="*/ 523236 h 1200597"/>
                <a:gd name="connsiteX160" fmla="*/ 130824 w 1058655"/>
                <a:gd name="connsiteY160" fmla="*/ 589239 h 1200597"/>
                <a:gd name="connsiteX161" fmla="*/ 107817 w 1058655"/>
                <a:gd name="connsiteY161" fmla="*/ 590067 h 1200597"/>
                <a:gd name="connsiteX162" fmla="*/ 64998 w 1058655"/>
                <a:gd name="connsiteY162" fmla="*/ 569603 h 1200597"/>
                <a:gd name="connsiteX163" fmla="*/ 51040 w 1058655"/>
                <a:gd name="connsiteY163" fmla="*/ 549317 h 1200597"/>
                <a:gd name="connsiteX164" fmla="*/ 51040 w 1058655"/>
                <a:gd name="connsiteY164" fmla="*/ 494315 h 1200597"/>
                <a:gd name="connsiteX165" fmla="*/ 62928 w 1058655"/>
                <a:gd name="connsiteY165" fmla="*/ 474206 h 1200597"/>
                <a:gd name="connsiteX166" fmla="*/ 110005 w 1058655"/>
                <a:gd name="connsiteY166" fmla="*/ 447001 h 1200597"/>
                <a:gd name="connsiteX167" fmla="*/ 110005 w 1058655"/>
                <a:gd name="connsiteY167" fmla="*/ 444339 h 1200597"/>
                <a:gd name="connsiteX168" fmla="*/ 14963 w 1058655"/>
                <a:gd name="connsiteY168" fmla="*/ 391761 h 1200597"/>
                <a:gd name="connsiteX169" fmla="*/ 0 w 1058655"/>
                <a:gd name="connsiteY169" fmla="*/ 374373 h 1200597"/>
                <a:gd name="connsiteX170" fmla="*/ 0 w 1058655"/>
                <a:gd name="connsiteY170" fmla="*/ 305117 h 1200597"/>
                <a:gd name="connsiteX171" fmla="*/ 58256 w 1058655"/>
                <a:gd name="connsiteY171" fmla="*/ 268212 h 1200597"/>
                <a:gd name="connsiteX172" fmla="*/ 98295 w 1058655"/>
                <a:gd name="connsiteY172" fmla="*/ 275132 h 1200597"/>
                <a:gd name="connsiteX173" fmla="*/ 183165 w 1058655"/>
                <a:gd name="connsiteY173" fmla="*/ 323865 h 1200597"/>
                <a:gd name="connsiteX174" fmla="*/ 185826 w 1058655"/>
                <a:gd name="connsiteY174" fmla="*/ 322328 h 1200597"/>
                <a:gd name="connsiteX175" fmla="*/ 185826 w 1058655"/>
                <a:gd name="connsiteY175" fmla="*/ 261411 h 1200597"/>
                <a:gd name="connsiteX176" fmla="*/ 195171 w 1058655"/>
                <a:gd name="connsiteY176" fmla="*/ 244319 h 1200597"/>
                <a:gd name="connsiteX177" fmla="*/ 235743 w 1058655"/>
                <a:gd name="connsiteY177" fmla="*/ 218473 h 1200597"/>
                <a:gd name="connsiteX178" fmla="*/ 257448 w 1058655"/>
                <a:gd name="connsiteY178" fmla="*/ 217823 h 1200597"/>
                <a:gd name="connsiteX179" fmla="*/ 304644 w 1058655"/>
                <a:gd name="connsiteY179" fmla="*/ 245087 h 1200597"/>
                <a:gd name="connsiteX180" fmla="*/ 315822 w 1058655"/>
                <a:gd name="connsiteY180" fmla="*/ 264427 h 1200597"/>
                <a:gd name="connsiteX181" fmla="*/ 315822 w 1058655"/>
                <a:gd name="connsiteY181" fmla="*/ 397616 h 1200597"/>
                <a:gd name="connsiteX182" fmla="*/ 316946 w 1058655"/>
                <a:gd name="connsiteY182" fmla="*/ 399568 h 1200597"/>
                <a:gd name="connsiteX183" fmla="*/ 363314 w 1058655"/>
                <a:gd name="connsiteY183" fmla="*/ 426360 h 1200597"/>
                <a:gd name="connsiteX184" fmla="*/ 364497 w 1058655"/>
                <a:gd name="connsiteY184" fmla="*/ 425650 h 1200597"/>
                <a:gd name="connsiteX185" fmla="*/ 363846 w 1058655"/>
                <a:gd name="connsiteY185" fmla="*/ 368637 h 1200597"/>
                <a:gd name="connsiteX186" fmla="*/ 403708 w 1058655"/>
                <a:gd name="connsiteY186" fmla="*/ 344861 h 1200597"/>
                <a:gd name="connsiteX187" fmla="*/ 456286 w 1058655"/>
                <a:gd name="connsiteY187" fmla="*/ 373723 h 1200597"/>
                <a:gd name="connsiteX188" fmla="*/ 457351 w 1058655"/>
                <a:gd name="connsiteY188" fmla="*/ 373072 h 1200597"/>
                <a:gd name="connsiteX189" fmla="*/ 457351 w 1058655"/>
                <a:gd name="connsiteY189" fmla="*/ 322209 h 1200597"/>
                <a:gd name="connsiteX190" fmla="*/ 455636 w 1058655"/>
                <a:gd name="connsiteY190" fmla="*/ 319193 h 1200597"/>
                <a:gd name="connsiteX191" fmla="*/ 342200 w 1058655"/>
                <a:gd name="connsiteY191" fmla="*/ 253781 h 1200597"/>
                <a:gd name="connsiteX192" fmla="*/ 331791 w 1058655"/>
                <a:gd name="connsiteY192" fmla="*/ 232372 h 1200597"/>
                <a:gd name="connsiteX193" fmla="*/ 331909 w 1058655"/>
                <a:gd name="connsiteY193" fmla="*/ 182928 h 1200597"/>
                <a:gd name="connsiteX194" fmla="*/ 342910 w 1058655"/>
                <a:gd name="connsiteY194" fmla="*/ 164239 h 1200597"/>
                <a:gd name="connsiteX195" fmla="*/ 384842 w 1058655"/>
                <a:gd name="connsiteY195" fmla="*/ 139991 h 1200597"/>
                <a:gd name="connsiteX196" fmla="*/ 408203 w 1058655"/>
                <a:gd name="connsiteY196" fmla="*/ 139991 h 1200597"/>
                <a:gd name="connsiteX197" fmla="*/ 457410 w 1058655"/>
                <a:gd name="connsiteY197" fmla="*/ 168438 h 1200597"/>
                <a:gd name="connsiteX198" fmla="*/ 460190 w 1058655"/>
                <a:gd name="connsiteY198" fmla="*/ 166782 h 1200597"/>
                <a:gd name="connsiteX199" fmla="*/ 460190 w 1058655"/>
                <a:gd name="connsiteY199" fmla="*/ 52637 h 1200597"/>
                <a:gd name="connsiteX200" fmla="*/ 468706 w 1058655"/>
                <a:gd name="connsiteY200" fmla="*/ 37023 h 1200597"/>
                <a:gd name="connsiteX201" fmla="*/ 525720 w 1058655"/>
                <a:gd name="connsiteY201" fmla="*/ 0 h 1200597"/>
                <a:gd name="connsiteX202" fmla="*/ 533290 w 1058655"/>
                <a:gd name="connsiteY202" fmla="*/ 0 h 1200597"/>
                <a:gd name="connsiteX203" fmla="*/ 337823 w 1058655"/>
                <a:gd name="connsiteY203" fmla="*/ 529800 h 1200597"/>
                <a:gd name="connsiteX204" fmla="*/ 340662 w 1058655"/>
                <a:gd name="connsiteY204" fmla="*/ 566883 h 1200597"/>
                <a:gd name="connsiteX205" fmla="*/ 286251 w 1058655"/>
                <a:gd name="connsiteY205" fmla="*/ 600476 h 1200597"/>
                <a:gd name="connsiteX206" fmla="*/ 285619 w 1058655"/>
                <a:gd name="connsiteY206" fmla="*/ 602839 h 1200597"/>
                <a:gd name="connsiteX207" fmla="*/ 286251 w 1058655"/>
                <a:gd name="connsiteY207" fmla="*/ 603492 h 1200597"/>
                <a:gd name="connsiteX208" fmla="*/ 345039 w 1058655"/>
                <a:gd name="connsiteY208" fmla="*/ 637381 h 1200597"/>
                <a:gd name="connsiteX209" fmla="*/ 352641 w 1058655"/>
                <a:gd name="connsiteY209" fmla="*/ 665737 h 1200597"/>
                <a:gd name="connsiteX210" fmla="*/ 345039 w 1058655"/>
                <a:gd name="connsiteY210" fmla="*/ 673340 h 1200597"/>
                <a:gd name="connsiteX211" fmla="*/ 258099 w 1058655"/>
                <a:gd name="connsiteY211" fmla="*/ 723552 h 1200597"/>
                <a:gd name="connsiteX212" fmla="*/ 238227 w 1058655"/>
                <a:gd name="connsiteY212" fmla="*/ 723552 h 1200597"/>
                <a:gd name="connsiteX213" fmla="*/ 123017 w 1058655"/>
                <a:gd name="connsiteY213" fmla="*/ 657016 h 1200597"/>
                <a:gd name="connsiteX214" fmla="*/ 118877 w 1058655"/>
                <a:gd name="connsiteY214" fmla="*/ 657016 h 1200597"/>
                <a:gd name="connsiteX215" fmla="*/ 96403 w 1058655"/>
                <a:gd name="connsiteY215" fmla="*/ 670028 h 1200597"/>
                <a:gd name="connsiteX216" fmla="*/ 94096 w 1058655"/>
                <a:gd name="connsiteY216" fmla="*/ 674049 h 1200597"/>
                <a:gd name="connsiteX217" fmla="*/ 94096 w 1058655"/>
                <a:gd name="connsiteY217" fmla="*/ 699599 h 1200597"/>
                <a:gd name="connsiteX218" fmla="*/ 96935 w 1058655"/>
                <a:gd name="connsiteY218" fmla="*/ 704212 h 1200597"/>
                <a:gd name="connsiteX219" fmla="*/ 165718 w 1058655"/>
                <a:gd name="connsiteY219" fmla="*/ 738752 h 1200597"/>
                <a:gd name="connsiteX220" fmla="*/ 164062 w 1058655"/>
                <a:gd name="connsiteY220" fmla="*/ 780802 h 1200597"/>
                <a:gd name="connsiteX221" fmla="*/ 44357 w 1058655"/>
                <a:gd name="connsiteY221" fmla="*/ 846510 h 1200597"/>
                <a:gd name="connsiteX222" fmla="*/ 41400 w 1058655"/>
                <a:gd name="connsiteY222" fmla="*/ 851596 h 1200597"/>
                <a:gd name="connsiteX223" fmla="*/ 41400 w 1058655"/>
                <a:gd name="connsiteY223" fmla="*/ 880044 h 1200597"/>
                <a:gd name="connsiteX224" fmla="*/ 44475 w 1058655"/>
                <a:gd name="connsiteY224" fmla="*/ 884716 h 1200597"/>
                <a:gd name="connsiteX225" fmla="*/ 73633 w 1058655"/>
                <a:gd name="connsiteY225" fmla="*/ 896840 h 1200597"/>
                <a:gd name="connsiteX226" fmla="*/ 79074 w 1058655"/>
                <a:gd name="connsiteY226" fmla="*/ 896544 h 1200597"/>
                <a:gd name="connsiteX227" fmla="*/ 197359 w 1058655"/>
                <a:gd name="connsiteY227" fmla="*/ 828471 h 1200597"/>
                <a:gd name="connsiteX228" fmla="*/ 230598 w 1058655"/>
                <a:gd name="connsiteY228" fmla="*/ 844381 h 1200597"/>
                <a:gd name="connsiteX229" fmla="*/ 230952 w 1058655"/>
                <a:gd name="connsiteY229" fmla="*/ 929901 h 1200597"/>
                <a:gd name="connsiteX230" fmla="*/ 233082 w 1058655"/>
                <a:gd name="connsiteY230" fmla="*/ 933627 h 1200597"/>
                <a:gd name="connsiteX231" fmla="*/ 249701 w 1058655"/>
                <a:gd name="connsiteY231" fmla="*/ 943208 h 1200597"/>
                <a:gd name="connsiteX232" fmla="*/ 254373 w 1058655"/>
                <a:gd name="connsiteY232" fmla="*/ 943149 h 1200597"/>
                <a:gd name="connsiteX233" fmla="*/ 275842 w 1058655"/>
                <a:gd name="connsiteY233" fmla="*/ 929428 h 1200597"/>
                <a:gd name="connsiteX234" fmla="*/ 278207 w 1058655"/>
                <a:gd name="connsiteY234" fmla="*/ 925110 h 1200597"/>
                <a:gd name="connsiteX235" fmla="*/ 278207 w 1058655"/>
                <a:gd name="connsiteY235" fmla="*/ 794464 h 1200597"/>
                <a:gd name="connsiteX236" fmla="*/ 287966 w 1058655"/>
                <a:gd name="connsiteY236" fmla="*/ 777431 h 1200597"/>
                <a:gd name="connsiteX237" fmla="*/ 366981 w 1058655"/>
                <a:gd name="connsiteY237" fmla="*/ 731418 h 1200597"/>
                <a:gd name="connsiteX238" fmla="*/ 402171 w 1058655"/>
                <a:gd name="connsiteY238" fmla="*/ 731595 h 1200597"/>
                <a:gd name="connsiteX239" fmla="*/ 407553 w 1058655"/>
                <a:gd name="connsiteY239" fmla="*/ 754188 h 1200597"/>
                <a:gd name="connsiteX240" fmla="*/ 407198 w 1058655"/>
                <a:gd name="connsiteY240" fmla="*/ 808954 h 1200597"/>
                <a:gd name="connsiteX241" fmla="*/ 410096 w 1058655"/>
                <a:gd name="connsiteY241" fmla="*/ 810492 h 1200597"/>
                <a:gd name="connsiteX242" fmla="*/ 462141 w 1058655"/>
                <a:gd name="connsiteY242" fmla="*/ 777076 h 1200597"/>
                <a:gd name="connsiteX243" fmla="*/ 492777 w 1058655"/>
                <a:gd name="connsiteY243" fmla="*/ 777313 h 1200597"/>
                <a:gd name="connsiteX244" fmla="*/ 498514 w 1058655"/>
                <a:gd name="connsiteY244" fmla="*/ 789614 h 1200597"/>
                <a:gd name="connsiteX245" fmla="*/ 498692 w 1058655"/>
                <a:gd name="connsiteY245" fmla="*/ 890985 h 1200597"/>
                <a:gd name="connsiteX246" fmla="*/ 486981 w 1058655"/>
                <a:gd name="connsiteY246" fmla="*/ 911034 h 1200597"/>
                <a:gd name="connsiteX247" fmla="*/ 375911 w 1058655"/>
                <a:gd name="connsiteY247" fmla="*/ 975145 h 1200597"/>
                <a:gd name="connsiteX248" fmla="*/ 373013 w 1058655"/>
                <a:gd name="connsiteY248" fmla="*/ 980172 h 1200597"/>
                <a:gd name="connsiteX249" fmla="*/ 373013 w 1058655"/>
                <a:gd name="connsiteY249" fmla="*/ 1003770 h 1200597"/>
                <a:gd name="connsiteX250" fmla="*/ 375438 w 1058655"/>
                <a:gd name="connsiteY250" fmla="*/ 1007910 h 1200597"/>
                <a:gd name="connsiteX251" fmla="*/ 393181 w 1058655"/>
                <a:gd name="connsiteY251" fmla="*/ 1018201 h 1200597"/>
                <a:gd name="connsiteX252" fmla="*/ 398859 w 1058655"/>
                <a:gd name="connsiteY252" fmla="*/ 1018201 h 1200597"/>
                <a:gd name="connsiteX253" fmla="*/ 469416 w 1058655"/>
                <a:gd name="connsiteY253" fmla="*/ 977984 h 1200597"/>
                <a:gd name="connsiteX254" fmla="*/ 493132 w 1058655"/>
                <a:gd name="connsiteY254" fmla="*/ 979048 h 1200597"/>
                <a:gd name="connsiteX255" fmla="*/ 501590 w 1058655"/>
                <a:gd name="connsiteY255" fmla="*/ 1011340 h 1200597"/>
                <a:gd name="connsiteX256" fmla="*/ 501649 w 1058655"/>
                <a:gd name="connsiteY256" fmla="*/ 1134535 h 1200597"/>
                <a:gd name="connsiteX257" fmla="*/ 504783 w 1058655"/>
                <a:gd name="connsiteY257" fmla="*/ 1139917 h 1200597"/>
                <a:gd name="connsiteX258" fmla="*/ 528381 w 1058655"/>
                <a:gd name="connsiteY258" fmla="*/ 1153519 h 1200597"/>
                <a:gd name="connsiteX259" fmla="*/ 532403 w 1058655"/>
                <a:gd name="connsiteY259" fmla="*/ 1153460 h 1200597"/>
                <a:gd name="connsiteX260" fmla="*/ 555410 w 1058655"/>
                <a:gd name="connsiteY260" fmla="*/ 1138734 h 1200597"/>
                <a:gd name="connsiteX261" fmla="*/ 558130 w 1058655"/>
                <a:gd name="connsiteY261" fmla="*/ 1133884 h 1200597"/>
                <a:gd name="connsiteX262" fmla="*/ 558012 w 1058655"/>
                <a:gd name="connsiteY262" fmla="*/ 1006195 h 1200597"/>
                <a:gd name="connsiteX263" fmla="*/ 575814 w 1058655"/>
                <a:gd name="connsiteY263" fmla="*/ 975382 h 1200597"/>
                <a:gd name="connsiteX264" fmla="*/ 598111 w 1058655"/>
                <a:gd name="connsiteY264" fmla="*/ 982360 h 1200597"/>
                <a:gd name="connsiteX265" fmla="*/ 660684 w 1058655"/>
                <a:gd name="connsiteY265" fmla="*/ 1018437 h 1200597"/>
                <a:gd name="connsiteX266" fmla="*/ 665533 w 1058655"/>
                <a:gd name="connsiteY266" fmla="*/ 1018615 h 1200597"/>
                <a:gd name="connsiteX267" fmla="*/ 683453 w 1058655"/>
                <a:gd name="connsiteY267" fmla="*/ 1010335 h 1200597"/>
                <a:gd name="connsiteX268" fmla="*/ 686529 w 1058655"/>
                <a:gd name="connsiteY268" fmla="*/ 1005426 h 1200597"/>
                <a:gd name="connsiteX269" fmla="*/ 686529 w 1058655"/>
                <a:gd name="connsiteY269" fmla="*/ 979995 h 1200597"/>
                <a:gd name="connsiteX270" fmla="*/ 683690 w 1058655"/>
                <a:gd name="connsiteY270" fmla="*/ 975027 h 1200597"/>
                <a:gd name="connsiteX271" fmla="*/ 573625 w 1058655"/>
                <a:gd name="connsiteY271" fmla="*/ 912454 h 1200597"/>
                <a:gd name="connsiteX272" fmla="*/ 559963 w 1058655"/>
                <a:gd name="connsiteY272" fmla="*/ 887141 h 1200597"/>
                <a:gd name="connsiteX273" fmla="*/ 560141 w 1058655"/>
                <a:gd name="connsiteY273" fmla="*/ 792690 h 1200597"/>
                <a:gd name="connsiteX274" fmla="*/ 595863 w 1058655"/>
                <a:gd name="connsiteY274" fmla="*/ 776544 h 1200597"/>
                <a:gd name="connsiteX275" fmla="*/ 646134 w 1058655"/>
                <a:gd name="connsiteY275" fmla="*/ 807475 h 1200597"/>
                <a:gd name="connsiteX276" fmla="*/ 649446 w 1058655"/>
                <a:gd name="connsiteY276" fmla="*/ 805701 h 1200597"/>
                <a:gd name="connsiteX277" fmla="*/ 658673 w 1058655"/>
                <a:gd name="connsiteY277" fmla="*/ 729466 h 1200597"/>
                <a:gd name="connsiteX278" fmla="*/ 693567 w 1058655"/>
                <a:gd name="connsiteY278" fmla="*/ 735380 h 1200597"/>
                <a:gd name="connsiteX279" fmla="*/ 773942 w 1058655"/>
                <a:gd name="connsiteY279" fmla="*/ 780980 h 1200597"/>
                <a:gd name="connsiteX280" fmla="*/ 784233 w 1058655"/>
                <a:gd name="connsiteY280" fmla="*/ 798781 h 1200597"/>
                <a:gd name="connsiteX281" fmla="*/ 784233 w 1058655"/>
                <a:gd name="connsiteY281" fmla="*/ 928955 h 1200597"/>
                <a:gd name="connsiteX282" fmla="*/ 787012 w 1058655"/>
                <a:gd name="connsiteY282" fmla="*/ 933804 h 1200597"/>
                <a:gd name="connsiteX283" fmla="*/ 804992 w 1058655"/>
                <a:gd name="connsiteY283" fmla="*/ 944154 h 1200597"/>
                <a:gd name="connsiteX284" fmla="*/ 811084 w 1058655"/>
                <a:gd name="connsiteY284" fmla="*/ 944154 h 1200597"/>
                <a:gd name="connsiteX285" fmla="*/ 829832 w 1058655"/>
                <a:gd name="connsiteY285" fmla="*/ 933331 h 1200597"/>
                <a:gd name="connsiteX286" fmla="*/ 832671 w 1058655"/>
                <a:gd name="connsiteY286" fmla="*/ 928363 h 1200597"/>
                <a:gd name="connsiteX287" fmla="*/ 832848 w 1058655"/>
                <a:gd name="connsiteY287" fmla="*/ 848757 h 1200597"/>
                <a:gd name="connsiteX288" fmla="*/ 869398 w 1058655"/>
                <a:gd name="connsiteY288" fmla="*/ 834090 h 1200597"/>
                <a:gd name="connsiteX289" fmla="*/ 978221 w 1058655"/>
                <a:gd name="connsiteY289" fmla="*/ 896308 h 1200597"/>
                <a:gd name="connsiteX290" fmla="*/ 983662 w 1058655"/>
                <a:gd name="connsiteY290" fmla="*/ 896544 h 1200597"/>
                <a:gd name="connsiteX291" fmla="*/ 1009744 w 1058655"/>
                <a:gd name="connsiteY291" fmla="*/ 884420 h 1200597"/>
                <a:gd name="connsiteX292" fmla="*/ 1012524 w 1058655"/>
                <a:gd name="connsiteY292" fmla="*/ 880043 h 1200597"/>
                <a:gd name="connsiteX293" fmla="*/ 1012524 w 1058655"/>
                <a:gd name="connsiteY293" fmla="*/ 850472 h 1200597"/>
                <a:gd name="connsiteX294" fmla="*/ 1009981 w 1058655"/>
                <a:gd name="connsiteY294" fmla="*/ 846037 h 1200597"/>
                <a:gd name="connsiteX295" fmla="*/ 897195 w 1058655"/>
                <a:gd name="connsiteY295" fmla="*/ 778200 h 1200597"/>
                <a:gd name="connsiteX296" fmla="*/ 886905 w 1058655"/>
                <a:gd name="connsiteY296" fmla="*/ 749575 h 1200597"/>
                <a:gd name="connsiteX297" fmla="*/ 893588 w 1058655"/>
                <a:gd name="connsiteY297" fmla="*/ 742182 h 1200597"/>
                <a:gd name="connsiteX298" fmla="*/ 963258 w 1058655"/>
                <a:gd name="connsiteY298" fmla="*/ 701965 h 1200597"/>
                <a:gd name="connsiteX299" fmla="*/ 965505 w 1058655"/>
                <a:gd name="connsiteY299" fmla="*/ 698061 h 1200597"/>
                <a:gd name="connsiteX300" fmla="*/ 965505 w 1058655"/>
                <a:gd name="connsiteY300" fmla="*/ 675824 h 1200597"/>
                <a:gd name="connsiteX301" fmla="*/ 963080 w 1058655"/>
                <a:gd name="connsiteY301" fmla="*/ 670856 h 1200597"/>
                <a:gd name="connsiteX302" fmla="*/ 945633 w 1058655"/>
                <a:gd name="connsiteY302" fmla="*/ 657608 h 1200597"/>
                <a:gd name="connsiteX303" fmla="*/ 940251 w 1058655"/>
                <a:gd name="connsiteY303" fmla="*/ 657253 h 1200597"/>
                <a:gd name="connsiteX304" fmla="*/ 827880 w 1058655"/>
                <a:gd name="connsiteY304" fmla="*/ 722133 h 1200597"/>
                <a:gd name="connsiteX305" fmla="*/ 807180 w 1058655"/>
                <a:gd name="connsiteY305" fmla="*/ 722665 h 1200597"/>
                <a:gd name="connsiteX306" fmla="*/ 715982 w 1058655"/>
                <a:gd name="connsiteY306" fmla="*/ 674286 h 1200597"/>
                <a:gd name="connsiteX307" fmla="*/ 715864 w 1058655"/>
                <a:gd name="connsiteY307" fmla="*/ 637322 h 1200597"/>
                <a:gd name="connsiteX308" fmla="*/ 770571 w 1058655"/>
                <a:gd name="connsiteY308" fmla="*/ 605858 h 1200597"/>
                <a:gd name="connsiteX309" fmla="*/ 770630 w 1058655"/>
                <a:gd name="connsiteY309" fmla="*/ 602605 h 1200597"/>
                <a:gd name="connsiteX310" fmla="*/ 717106 w 1058655"/>
                <a:gd name="connsiteY310" fmla="*/ 569012 h 1200597"/>
                <a:gd name="connsiteX311" fmla="*/ 710484 w 1058655"/>
                <a:gd name="connsiteY311" fmla="*/ 539896 h 1200597"/>
                <a:gd name="connsiteX312" fmla="*/ 716987 w 1058655"/>
                <a:gd name="connsiteY312" fmla="*/ 533349 h 1200597"/>
                <a:gd name="connsiteX313" fmla="*/ 803868 w 1058655"/>
                <a:gd name="connsiteY313" fmla="*/ 477932 h 1200597"/>
                <a:gd name="connsiteX314" fmla="*/ 826342 w 1058655"/>
                <a:gd name="connsiteY314" fmla="*/ 477400 h 1200597"/>
                <a:gd name="connsiteX315" fmla="*/ 944155 w 1058655"/>
                <a:gd name="connsiteY315" fmla="*/ 545414 h 1200597"/>
                <a:gd name="connsiteX316" fmla="*/ 947171 w 1058655"/>
                <a:gd name="connsiteY316" fmla="*/ 545651 h 1200597"/>
                <a:gd name="connsiteX317" fmla="*/ 964559 w 1058655"/>
                <a:gd name="connsiteY317" fmla="*/ 535596 h 1200597"/>
                <a:gd name="connsiteX318" fmla="*/ 967516 w 1058655"/>
                <a:gd name="connsiteY318" fmla="*/ 530451 h 1200597"/>
                <a:gd name="connsiteX319" fmla="*/ 967220 w 1058655"/>
                <a:gd name="connsiteY319" fmla="*/ 507149 h 1200597"/>
                <a:gd name="connsiteX320" fmla="*/ 963672 w 1058655"/>
                <a:gd name="connsiteY320" fmla="*/ 502181 h 1200597"/>
                <a:gd name="connsiteX321" fmla="*/ 897136 w 1058655"/>
                <a:gd name="connsiteY321" fmla="*/ 464329 h 1200597"/>
                <a:gd name="connsiteX322" fmla="*/ 895362 w 1058655"/>
                <a:gd name="connsiteY322" fmla="*/ 426656 h 1200597"/>
                <a:gd name="connsiteX323" fmla="*/ 1014121 w 1058655"/>
                <a:gd name="connsiteY323" fmla="*/ 358523 h 1200597"/>
                <a:gd name="connsiteX324" fmla="*/ 1017196 w 1058655"/>
                <a:gd name="connsiteY324" fmla="*/ 353141 h 1200597"/>
                <a:gd name="connsiteX325" fmla="*/ 1017196 w 1058655"/>
                <a:gd name="connsiteY325" fmla="*/ 326054 h 1200597"/>
                <a:gd name="connsiteX326" fmla="*/ 1014357 w 1058655"/>
                <a:gd name="connsiteY326" fmla="*/ 321086 h 1200597"/>
                <a:gd name="connsiteX327" fmla="*/ 992001 w 1058655"/>
                <a:gd name="connsiteY327" fmla="*/ 308193 h 1200597"/>
                <a:gd name="connsiteX328" fmla="*/ 985673 w 1058655"/>
                <a:gd name="connsiteY328" fmla="*/ 308134 h 1200597"/>
                <a:gd name="connsiteX329" fmla="*/ 863780 w 1058655"/>
                <a:gd name="connsiteY329" fmla="*/ 374078 h 1200597"/>
                <a:gd name="connsiteX330" fmla="*/ 832316 w 1058655"/>
                <a:gd name="connsiteY330" fmla="*/ 352254 h 1200597"/>
                <a:gd name="connsiteX331" fmla="*/ 833026 w 1058655"/>
                <a:gd name="connsiteY331" fmla="*/ 284299 h 1200597"/>
                <a:gd name="connsiteX332" fmla="*/ 810196 w 1058655"/>
                <a:gd name="connsiteY332" fmla="*/ 260524 h 1200597"/>
                <a:gd name="connsiteX333" fmla="*/ 804814 w 1058655"/>
                <a:gd name="connsiteY333" fmla="*/ 260524 h 1200597"/>
                <a:gd name="connsiteX334" fmla="*/ 782104 w 1058655"/>
                <a:gd name="connsiteY334" fmla="*/ 283471 h 1200597"/>
                <a:gd name="connsiteX335" fmla="*/ 782104 w 1058655"/>
                <a:gd name="connsiteY335" fmla="*/ 411278 h 1200597"/>
                <a:gd name="connsiteX336" fmla="*/ 766608 w 1058655"/>
                <a:gd name="connsiteY336" fmla="*/ 433930 h 1200597"/>
                <a:gd name="connsiteX337" fmla="*/ 680556 w 1058655"/>
                <a:gd name="connsiteY337" fmla="*/ 481954 h 1200597"/>
                <a:gd name="connsiteX338" fmla="*/ 652178 w 1058655"/>
                <a:gd name="connsiteY338" fmla="*/ 473803 h 1200597"/>
                <a:gd name="connsiteX339" fmla="*/ 649565 w 1058655"/>
                <a:gd name="connsiteY339" fmla="*/ 463738 h 1200597"/>
                <a:gd name="connsiteX340" fmla="*/ 649565 w 1058655"/>
                <a:gd name="connsiteY340" fmla="*/ 393772 h 1200597"/>
                <a:gd name="connsiteX341" fmla="*/ 648059 w 1058655"/>
                <a:gd name="connsiteY341" fmla="*/ 392231 h 1200597"/>
                <a:gd name="connsiteX342" fmla="*/ 647258 w 1058655"/>
                <a:gd name="connsiteY342" fmla="*/ 392471 h 1200597"/>
                <a:gd name="connsiteX343" fmla="*/ 595686 w 1058655"/>
                <a:gd name="connsiteY343" fmla="*/ 424112 h 1200597"/>
                <a:gd name="connsiteX344" fmla="*/ 560141 w 1058655"/>
                <a:gd name="connsiteY344" fmla="*/ 406606 h 1200597"/>
                <a:gd name="connsiteX345" fmla="*/ 560023 w 1058655"/>
                <a:gd name="connsiteY345" fmla="*/ 309198 h 1200597"/>
                <a:gd name="connsiteX346" fmla="*/ 571023 w 1058655"/>
                <a:gd name="connsiteY346" fmla="*/ 290332 h 1200597"/>
                <a:gd name="connsiteX347" fmla="*/ 679550 w 1058655"/>
                <a:gd name="connsiteY347" fmla="*/ 227640 h 1200597"/>
                <a:gd name="connsiteX348" fmla="*/ 688303 w 1058655"/>
                <a:gd name="connsiteY348" fmla="*/ 198660 h 1200597"/>
                <a:gd name="connsiteX349" fmla="*/ 687534 w 1058655"/>
                <a:gd name="connsiteY349" fmla="*/ 197300 h 1200597"/>
                <a:gd name="connsiteX350" fmla="*/ 652463 w 1058655"/>
                <a:gd name="connsiteY350" fmla="*/ 187423 h 1200597"/>
                <a:gd name="connsiteX351" fmla="*/ 603847 w 1058655"/>
                <a:gd name="connsiteY351" fmla="*/ 214984 h 1200597"/>
                <a:gd name="connsiteX352" fmla="*/ 565819 w 1058655"/>
                <a:gd name="connsiteY352" fmla="*/ 220898 h 1200597"/>
                <a:gd name="connsiteX353" fmla="*/ 558189 w 1058655"/>
                <a:gd name="connsiteY353" fmla="*/ 204811 h 1200597"/>
                <a:gd name="connsiteX354" fmla="*/ 558189 w 1058655"/>
                <a:gd name="connsiteY354" fmla="*/ 66713 h 1200597"/>
                <a:gd name="connsiteX355" fmla="*/ 555173 w 1058655"/>
                <a:gd name="connsiteY355" fmla="*/ 61449 h 1200597"/>
                <a:gd name="connsiteX356" fmla="*/ 531279 w 1058655"/>
                <a:gd name="connsiteY356" fmla="*/ 47669 h 1200597"/>
                <a:gd name="connsiteX357" fmla="*/ 526903 w 1058655"/>
                <a:gd name="connsiteY357" fmla="*/ 47787 h 1200597"/>
                <a:gd name="connsiteX358" fmla="*/ 504074 w 1058655"/>
                <a:gd name="connsiteY358" fmla="*/ 62336 h 1200597"/>
                <a:gd name="connsiteX359" fmla="*/ 501471 w 1058655"/>
                <a:gd name="connsiteY359" fmla="*/ 67127 h 1200597"/>
                <a:gd name="connsiteX360" fmla="*/ 501235 w 1058655"/>
                <a:gd name="connsiteY360" fmla="*/ 204634 h 1200597"/>
                <a:gd name="connsiteX361" fmla="*/ 466636 w 1058655"/>
                <a:gd name="connsiteY361" fmla="*/ 220780 h 1200597"/>
                <a:gd name="connsiteX362" fmla="*/ 398799 w 1058655"/>
                <a:gd name="connsiteY362" fmla="*/ 182751 h 1200597"/>
                <a:gd name="connsiteX363" fmla="*/ 393299 w 1058655"/>
                <a:gd name="connsiteY363" fmla="*/ 182810 h 1200597"/>
                <a:gd name="connsiteX364" fmla="*/ 375852 w 1058655"/>
                <a:gd name="connsiteY364" fmla="*/ 192864 h 1200597"/>
                <a:gd name="connsiteX365" fmla="*/ 373072 w 1058655"/>
                <a:gd name="connsiteY365" fmla="*/ 197773 h 1200597"/>
                <a:gd name="connsiteX366" fmla="*/ 373072 w 1058655"/>
                <a:gd name="connsiteY366" fmla="*/ 220957 h 1200597"/>
                <a:gd name="connsiteX367" fmla="*/ 375556 w 1058655"/>
                <a:gd name="connsiteY367" fmla="*/ 225334 h 1200597"/>
                <a:gd name="connsiteX368" fmla="*/ 473438 w 1058655"/>
                <a:gd name="connsiteY368" fmla="*/ 281697 h 1200597"/>
                <a:gd name="connsiteX369" fmla="*/ 498810 w 1058655"/>
                <a:gd name="connsiteY369" fmla="*/ 311919 h 1200597"/>
                <a:gd name="connsiteX370" fmla="*/ 498632 w 1058655"/>
                <a:gd name="connsiteY370" fmla="*/ 409445 h 1200597"/>
                <a:gd name="connsiteX371" fmla="*/ 477368 w 1058655"/>
                <a:gd name="connsiteY371" fmla="*/ 430496 h 1200597"/>
                <a:gd name="connsiteX372" fmla="*/ 466932 w 1058655"/>
                <a:gd name="connsiteY372" fmla="*/ 427661 h 1200597"/>
                <a:gd name="connsiteX373" fmla="*/ 408913 w 1058655"/>
                <a:gd name="connsiteY373" fmla="*/ 394127 h 1200597"/>
                <a:gd name="connsiteX374" fmla="*/ 405660 w 1058655"/>
                <a:gd name="connsiteY374" fmla="*/ 395960 h 1200597"/>
                <a:gd name="connsiteX375" fmla="*/ 405483 w 1058655"/>
                <a:gd name="connsiteY375" fmla="*/ 451909 h 1200597"/>
                <a:gd name="connsiteX376" fmla="*/ 403235 w 1058655"/>
                <a:gd name="connsiteY376" fmla="*/ 470362 h 1200597"/>
                <a:gd name="connsiteX377" fmla="*/ 364024 w 1058655"/>
                <a:gd name="connsiteY377" fmla="*/ 474206 h 1200597"/>
                <a:gd name="connsiteX378" fmla="*/ 285955 w 1058655"/>
                <a:gd name="connsiteY378" fmla="*/ 429613 h 1200597"/>
                <a:gd name="connsiteX379" fmla="*/ 274422 w 1058655"/>
                <a:gd name="connsiteY379" fmla="*/ 409622 h 1200597"/>
                <a:gd name="connsiteX380" fmla="*/ 274422 w 1058655"/>
                <a:gd name="connsiteY380" fmla="*/ 278444 h 1200597"/>
                <a:gd name="connsiteX381" fmla="*/ 271879 w 1058655"/>
                <a:gd name="connsiteY381" fmla="*/ 274008 h 1200597"/>
                <a:gd name="connsiteX382" fmla="*/ 250233 w 1058655"/>
                <a:gd name="connsiteY382" fmla="*/ 261529 h 1200597"/>
                <a:gd name="connsiteX383" fmla="*/ 244969 w 1058655"/>
                <a:gd name="connsiteY383" fmla="*/ 261647 h 1200597"/>
                <a:gd name="connsiteX384" fmla="*/ 229415 w 1058655"/>
                <a:gd name="connsiteY384" fmla="*/ 271583 h 1200597"/>
                <a:gd name="connsiteX385" fmla="*/ 227108 w 1058655"/>
                <a:gd name="connsiteY385" fmla="*/ 275723 h 1200597"/>
                <a:gd name="connsiteX386" fmla="*/ 227108 w 1058655"/>
                <a:gd name="connsiteY386" fmla="*/ 360238 h 1200597"/>
                <a:gd name="connsiteX387" fmla="*/ 205899 w 1058655"/>
                <a:gd name="connsiteY387" fmla="*/ 381493 h 1200597"/>
                <a:gd name="connsiteX388" fmla="*/ 195230 w 1058655"/>
                <a:gd name="connsiteY388" fmla="*/ 378632 h 1200597"/>
                <a:gd name="connsiteX389" fmla="*/ 75052 w 1058655"/>
                <a:gd name="connsiteY389" fmla="*/ 309257 h 1200597"/>
                <a:gd name="connsiteX390" fmla="*/ 70380 w 1058655"/>
                <a:gd name="connsiteY390" fmla="*/ 309080 h 1200597"/>
                <a:gd name="connsiteX391" fmla="*/ 44830 w 1058655"/>
                <a:gd name="connsiteY391" fmla="*/ 320908 h 1200597"/>
                <a:gd name="connsiteX392" fmla="*/ 41400 w 1058655"/>
                <a:gd name="connsiteY392" fmla="*/ 326290 h 1200597"/>
                <a:gd name="connsiteX393" fmla="*/ 41400 w 1058655"/>
                <a:gd name="connsiteY393" fmla="*/ 355980 h 1200597"/>
                <a:gd name="connsiteX394" fmla="*/ 44180 w 1058655"/>
                <a:gd name="connsiteY394" fmla="*/ 360711 h 1200597"/>
                <a:gd name="connsiteX395" fmla="*/ 165008 w 1058655"/>
                <a:gd name="connsiteY395" fmla="*/ 426833 h 1200597"/>
                <a:gd name="connsiteX396" fmla="*/ 162288 w 1058655"/>
                <a:gd name="connsiteY396" fmla="*/ 465453 h 1200597"/>
                <a:gd name="connsiteX397" fmla="*/ 94924 w 1058655"/>
                <a:gd name="connsiteY397" fmla="*/ 503304 h 1200597"/>
                <a:gd name="connsiteX398" fmla="*/ 92322 w 1058655"/>
                <a:gd name="connsiteY398" fmla="*/ 507740 h 1200597"/>
                <a:gd name="connsiteX399" fmla="*/ 92322 w 1058655"/>
                <a:gd name="connsiteY399" fmla="*/ 532403 h 1200597"/>
                <a:gd name="connsiteX400" fmla="*/ 94924 w 1058655"/>
                <a:gd name="connsiteY400" fmla="*/ 536957 h 1200597"/>
                <a:gd name="connsiteX401" fmla="*/ 113081 w 1058655"/>
                <a:gd name="connsiteY401" fmla="*/ 547425 h 1200597"/>
                <a:gd name="connsiteX402" fmla="*/ 118581 w 1058655"/>
                <a:gd name="connsiteY402" fmla="*/ 547425 h 1200597"/>
                <a:gd name="connsiteX403" fmla="*/ 231485 w 1058655"/>
                <a:gd name="connsiteY403" fmla="*/ 482250 h 1200597"/>
                <a:gd name="connsiteX404" fmla="*/ 256916 w 1058655"/>
                <a:gd name="connsiteY404" fmla="*/ 482309 h 1200597"/>
                <a:gd name="connsiteX405" fmla="*/ 337823 w 1058655"/>
                <a:gd name="connsiteY405" fmla="*/ 529800 h 12005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</a:cxnLst>
              <a:rect l="l" t="t" r="r" b="b"/>
              <a:pathLst>
                <a:path w="1058655" h="1200597">
                  <a:moveTo>
                    <a:pt x="533290" y="0"/>
                  </a:moveTo>
                  <a:cubicBezTo>
                    <a:pt x="551900" y="10173"/>
                    <a:pt x="569959" y="21607"/>
                    <a:pt x="587465" y="34303"/>
                  </a:cubicBezTo>
                  <a:cubicBezTo>
                    <a:pt x="598761" y="42524"/>
                    <a:pt x="599885" y="48793"/>
                    <a:pt x="599530" y="62159"/>
                  </a:cubicBezTo>
                  <a:cubicBezTo>
                    <a:pt x="599254" y="72647"/>
                    <a:pt x="599372" y="107423"/>
                    <a:pt x="599885" y="166487"/>
                  </a:cubicBezTo>
                  <a:cubicBezTo>
                    <a:pt x="599885" y="169010"/>
                    <a:pt x="600969" y="169641"/>
                    <a:pt x="603138" y="168379"/>
                  </a:cubicBezTo>
                  <a:lnTo>
                    <a:pt x="653113" y="139518"/>
                  </a:lnTo>
                  <a:cubicBezTo>
                    <a:pt x="659957" y="135566"/>
                    <a:pt x="668389" y="135566"/>
                    <a:pt x="675233" y="139518"/>
                  </a:cubicBezTo>
                  <a:lnTo>
                    <a:pt x="721837" y="166428"/>
                  </a:lnTo>
                  <a:cubicBezTo>
                    <a:pt x="728225" y="170094"/>
                    <a:pt x="731418" y="175614"/>
                    <a:pt x="731418" y="182988"/>
                  </a:cubicBezTo>
                  <a:lnTo>
                    <a:pt x="731418" y="233732"/>
                  </a:lnTo>
                  <a:cubicBezTo>
                    <a:pt x="731418" y="241618"/>
                    <a:pt x="728008" y="247532"/>
                    <a:pt x="721187" y="251475"/>
                  </a:cubicBezTo>
                  <a:lnTo>
                    <a:pt x="603019" y="319666"/>
                  </a:lnTo>
                  <a:cubicBezTo>
                    <a:pt x="601876" y="320337"/>
                    <a:pt x="601304" y="321362"/>
                    <a:pt x="601304" y="322742"/>
                  </a:cubicBezTo>
                  <a:lnTo>
                    <a:pt x="601304" y="371298"/>
                  </a:lnTo>
                  <a:cubicBezTo>
                    <a:pt x="601304" y="372008"/>
                    <a:pt x="601600" y="372185"/>
                    <a:pt x="602191" y="371830"/>
                  </a:cubicBezTo>
                  <a:lnTo>
                    <a:pt x="659087" y="337232"/>
                  </a:lnTo>
                  <a:cubicBezTo>
                    <a:pt x="668965" y="331222"/>
                    <a:pt x="681845" y="334357"/>
                    <a:pt x="687855" y="344236"/>
                  </a:cubicBezTo>
                  <a:cubicBezTo>
                    <a:pt x="689846" y="347508"/>
                    <a:pt x="690901" y="351263"/>
                    <a:pt x="690905" y="355093"/>
                  </a:cubicBezTo>
                  <a:lnTo>
                    <a:pt x="690905" y="428016"/>
                  </a:lnTo>
                  <a:cubicBezTo>
                    <a:pt x="690918" y="428408"/>
                    <a:pt x="691246" y="428715"/>
                    <a:pt x="691638" y="428702"/>
                  </a:cubicBezTo>
                  <a:cubicBezTo>
                    <a:pt x="691755" y="428698"/>
                    <a:pt x="691869" y="428666"/>
                    <a:pt x="691970" y="428607"/>
                  </a:cubicBezTo>
                  <a:lnTo>
                    <a:pt x="740053" y="400869"/>
                  </a:lnTo>
                  <a:cubicBezTo>
                    <a:pt x="740676" y="400509"/>
                    <a:pt x="741059" y="399833"/>
                    <a:pt x="741059" y="399095"/>
                  </a:cubicBezTo>
                  <a:lnTo>
                    <a:pt x="741059" y="256029"/>
                  </a:lnTo>
                  <a:cubicBezTo>
                    <a:pt x="741058" y="247588"/>
                    <a:pt x="745953" y="239923"/>
                    <a:pt x="753597" y="236393"/>
                  </a:cubicBezTo>
                  <a:lnTo>
                    <a:pt x="797008" y="216285"/>
                  </a:lnTo>
                  <a:cubicBezTo>
                    <a:pt x="802141" y="213866"/>
                    <a:pt x="808057" y="213653"/>
                    <a:pt x="813390" y="215693"/>
                  </a:cubicBezTo>
                  <a:cubicBezTo>
                    <a:pt x="823563" y="219597"/>
                    <a:pt x="839847" y="226773"/>
                    <a:pt x="862242" y="237221"/>
                  </a:cubicBezTo>
                  <a:cubicBezTo>
                    <a:pt x="869970" y="240809"/>
                    <a:pt x="873834" y="248991"/>
                    <a:pt x="873834" y="261766"/>
                  </a:cubicBezTo>
                  <a:cubicBezTo>
                    <a:pt x="873755" y="292520"/>
                    <a:pt x="873834" y="311347"/>
                    <a:pt x="874071" y="318247"/>
                  </a:cubicBezTo>
                  <a:cubicBezTo>
                    <a:pt x="874149" y="320297"/>
                    <a:pt x="875096" y="320829"/>
                    <a:pt x="876909" y="319844"/>
                  </a:cubicBezTo>
                  <a:cubicBezTo>
                    <a:pt x="906323" y="304191"/>
                    <a:pt x="939620" y="286113"/>
                    <a:pt x="976802" y="265610"/>
                  </a:cubicBezTo>
                  <a:cubicBezTo>
                    <a:pt x="984963" y="261115"/>
                    <a:pt x="992947" y="260898"/>
                    <a:pt x="1000754" y="264959"/>
                  </a:cubicBezTo>
                  <a:cubicBezTo>
                    <a:pt x="1023583" y="276748"/>
                    <a:pt x="1042884" y="290174"/>
                    <a:pt x="1058655" y="305236"/>
                  </a:cubicBezTo>
                  <a:lnTo>
                    <a:pt x="1058655" y="375970"/>
                  </a:lnTo>
                  <a:cubicBezTo>
                    <a:pt x="1025338" y="400140"/>
                    <a:pt x="988492" y="422792"/>
                    <a:pt x="948117" y="443925"/>
                  </a:cubicBezTo>
                  <a:cubicBezTo>
                    <a:pt x="947660" y="444178"/>
                    <a:pt x="947494" y="444754"/>
                    <a:pt x="947747" y="445211"/>
                  </a:cubicBezTo>
                  <a:cubicBezTo>
                    <a:pt x="947833" y="445367"/>
                    <a:pt x="947962" y="445495"/>
                    <a:pt x="948117" y="445581"/>
                  </a:cubicBezTo>
                  <a:lnTo>
                    <a:pt x="997915" y="474325"/>
                  </a:lnTo>
                  <a:cubicBezTo>
                    <a:pt x="1004413" y="478103"/>
                    <a:pt x="1008471" y="485008"/>
                    <a:pt x="1008620" y="492540"/>
                  </a:cubicBezTo>
                  <a:cubicBezTo>
                    <a:pt x="1008857" y="505434"/>
                    <a:pt x="1008936" y="520890"/>
                    <a:pt x="1008857" y="538908"/>
                  </a:cubicBezTo>
                  <a:cubicBezTo>
                    <a:pt x="1008798" y="552570"/>
                    <a:pt x="1005781" y="560377"/>
                    <a:pt x="994130" y="566883"/>
                  </a:cubicBezTo>
                  <a:cubicBezTo>
                    <a:pt x="980646" y="574374"/>
                    <a:pt x="968009" y="581314"/>
                    <a:pt x="956220" y="587701"/>
                  </a:cubicBezTo>
                  <a:cubicBezTo>
                    <a:pt x="949154" y="591488"/>
                    <a:pt x="940649" y="591353"/>
                    <a:pt x="933746" y="587346"/>
                  </a:cubicBezTo>
                  <a:lnTo>
                    <a:pt x="816939" y="519924"/>
                  </a:lnTo>
                  <a:cubicBezTo>
                    <a:pt x="816308" y="519569"/>
                    <a:pt x="815677" y="519588"/>
                    <a:pt x="815046" y="519983"/>
                  </a:cubicBezTo>
                  <a:lnTo>
                    <a:pt x="767554" y="550086"/>
                  </a:lnTo>
                  <a:cubicBezTo>
                    <a:pt x="766699" y="550628"/>
                    <a:pt x="766444" y="551760"/>
                    <a:pt x="766985" y="552616"/>
                  </a:cubicBezTo>
                  <a:cubicBezTo>
                    <a:pt x="767143" y="552865"/>
                    <a:pt x="767359" y="553073"/>
                    <a:pt x="767614" y="553221"/>
                  </a:cubicBezTo>
                  <a:lnTo>
                    <a:pt x="823681" y="585572"/>
                  </a:lnTo>
                  <a:cubicBezTo>
                    <a:pt x="833986" y="591563"/>
                    <a:pt x="837507" y="604760"/>
                    <a:pt x="831545" y="615049"/>
                  </a:cubicBezTo>
                  <a:cubicBezTo>
                    <a:pt x="829657" y="618308"/>
                    <a:pt x="826945" y="621012"/>
                    <a:pt x="823681" y="622891"/>
                  </a:cubicBezTo>
                  <a:lnTo>
                    <a:pt x="768442" y="654769"/>
                  </a:lnTo>
                  <a:cubicBezTo>
                    <a:pt x="768189" y="654919"/>
                    <a:pt x="768105" y="655245"/>
                    <a:pt x="768255" y="655498"/>
                  </a:cubicBezTo>
                  <a:cubicBezTo>
                    <a:pt x="768312" y="655595"/>
                    <a:pt x="768398" y="655671"/>
                    <a:pt x="768501" y="655715"/>
                  </a:cubicBezTo>
                  <a:lnTo>
                    <a:pt x="814750" y="679905"/>
                  </a:lnTo>
                  <a:cubicBezTo>
                    <a:pt x="815524" y="680313"/>
                    <a:pt x="816462" y="680290"/>
                    <a:pt x="817234" y="679845"/>
                  </a:cubicBezTo>
                  <a:lnTo>
                    <a:pt x="933686" y="614315"/>
                  </a:lnTo>
                  <a:cubicBezTo>
                    <a:pt x="941162" y="610095"/>
                    <a:pt x="950526" y="610671"/>
                    <a:pt x="957698" y="615794"/>
                  </a:cubicBezTo>
                  <a:lnTo>
                    <a:pt x="998093" y="644656"/>
                  </a:lnTo>
                  <a:cubicBezTo>
                    <a:pt x="1003515" y="648513"/>
                    <a:pt x="1006751" y="654808"/>
                    <a:pt x="1006787" y="661570"/>
                  </a:cubicBezTo>
                  <a:cubicBezTo>
                    <a:pt x="1006945" y="678919"/>
                    <a:pt x="1007004" y="693389"/>
                    <a:pt x="1006964" y="704981"/>
                  </a:cubicBezTo>
                  <a:cubicBezTo>
                    <a:pt x="1006905" y="721127"/>
                    <a:pt x="1004125" y="727988"/>
                    <a:pt x="989635" y="735321"/>
                  </a:cubicBezTo>
                  <a:cubicBezTo>
                    <a:pt x="979345" y="740526"/>
                    <a:pt x="966116" y="748037"/>
                    <a:pt x="949951" y="757855"/>
                  </a:cubicBezTo>
                  <a:cubicBezTo>
                    <a:pt x="948137" y="758959"/>
                    <a:pt x="948137" y="760082"/>
                    <a:pt x="949951" y="761226"/>
                  </a:cubicBezTo>
                  <a:cubicBezTo>
                    <a:pt x="980705" y="780782"/>
                    <a:pt x="1010237" y="798545"/>
                    <a:pt x="1038547" y="814513"/>
                  </a:cubicBezTo>
                  <a:cubicBezTo>
                    <a:pt x="1048680" y="820231"/>
                    <a:pt x="1053825" y="828254"/>
                    <a:pt x="1053983" y="838584"/>
                  </a:cubicBezTo>
                  <a:cubicBezTo>
                    <a:pt x="1054180" y="851202"/>
                    <a:pt x="1054121" y="870738"/>
                    <a:pt x="1053805" y="897195"/>
                  </a:cubicBezTo>
                  <a:cubicBezTo>
                    <a:pt x="1053694" y="904719"/>
                    <a:pt x="1049302" y="911502"/>
                    <a:pt x="1042509" y="914642"/>
                  </a:cubicBezTo>
                  <a:lnTo>
                    <a:pt x="985673" y="941020"/>
                  </a:lnTo>
                  <a:cubicBezTo>
                    <a:pt x="981036" y="943169"/>
                    <a:pt x="975649" y="942927"/>
                    <a:pt x="971242" y="940369"/>
                  </a:cubicBezTo>
                  <a:lnTo>
                    <a:pt x="877087" y="886017"/>
                  </a:lnTo>
                  <a:cubicBezTo>
                    <a:pt x="874918" y="884755"/>
                    <a:pt x="873834" y="885386"/>
                    <a:pt x="873834" y="887910"/>
                  </a:cubicBezTo>
                  <a:lnTo>
                    <a:pt x="873834" y="944568"/>
                  </a:lnTo>
                  <a:cubicBezTo>
                    <a:pt x="873831" y="951539"/>
                    <a:pt x="870148" y="958006"/>
                    <a:pt x="864135" y="961601"/>
                  </a:cubicBezTo>
                  <a:cubicBezTo>
                    <a:pt x="848718" y="970828"/>
                    <a:pt x="833104" y="979443"/>
                    <a:pt x="817294" y="987447"/>
                  </a:cubicBezTo>
                  <a:cubicBezTo>
                    <a:pt x="810788" y="990759"/>
                    <a:pt x="804223" y="990660"/>
                    <a:pt x="797599" y="987151"/>
                  </a:cubicBezTo>
                  <a:cubicBezTo>
                    <a:pt x="789122" y="982617"/>
                    <a:pt x="775854" y="975165"/>
                    <a:pt x="757796" y="964795"/>
                  </a:cubicBezTo>
                  <a:cubicBezTo>
                    <a:pt x="747781" y="959078"/>
                    <a:pt x="742793" y="951409"/>
                    <a:pt x="742833" y="941789"/>
                  </a:cubicBezTo>
                  <a:cubicBezTo>
                    <a:pt x="742872" y="915726"/>
                    <a:pt x="742853" y="872730"/>
                    <a:pt x="742774" y="812798"/>
                  </a:cubicBezTo>
                  <a:cubicBezTo>
                    <a:pt x="742774" y="811655"/>
                    <a:pt x="742261" y="810787"/>
                    <a:pt x="741236" y="810196"/>
                  </a:cubicBezTo>
                  <a:lnTo>
                    <a:pt x="691438" y="781453"/>
                  </a:lnTo>
                  <a:cubicBezTo>
                    <a:pt x="691077" y="781223"/>
                    <a:pt x="690600" y="781355"/>
                    <a:pt x="690373" y="781748"/>
                  </a:cubicBezTo>
                  <a:cubicBezTo>
                    <a:pt x="690291" y="781891"/>
                    <a:pt x="690249" y="782056"/>
                    <a:pt x="690255" y="782221"/>
                  </a:cubicBezTo>
                  <a:cubicBezTo>
                    <a:pt x="691517" y="812227"/>
                    <a:pt x="691753" y="832907"/>
                    <a:pt x="690965" y="844262"/>
                  </a:cubicBezTo>
                  <a:cubicBezTo>
                    <a:pt x="689663" y="862892"/>
                    <a:pt x="673458" y="872059"/>
                    <a:pt x="657431" y="862419"/>
                  </a:cubicBezTo>
                  <a:cubicBezTo>
                    <a:pt x="638229" y="850906"/>
                    <a:pt x="619895" y="839649"/>
                    <a:pt x="602428" y="828649"/>
                  </a:cubicBezTo>
                  <a:cubicBezTo>
                    <a:pt x="602110" y="828420"/>
                    <a:pt x="601666" y="828492"/>
                    <a:pt x="601437" y="828811"/>
                  </a:cubicBezTo>
                  <a:cubicBezTo>
                    <a:pt x="601348" y="828936"/>
                    <a:pt x="601301" y="829086"/>
                    <a:pt x="601304" y="829240"/>
                  </a:cubicBezTo>
                  <a:lnTo>
                    <a:pt x="601304" y="877974"/>
                  </a:lnTo>
                  <a:cubicBezTo>
                    <a:pt x="601304" y="879354"/>
                    <a:pt x="601896" y="880398"/>
                    <a:pt x="603079" y="881108"/>
                  </a:cubicBezTo>
                  <a:lnTo>
                    <a:pt x="715272" y="945869"/>
                  </a:lnTo>
                  <a:cubicBezTo>
                    <a:pt x="723473" y="950601"/>
                    <a:pt x="727653" y="957698"/>
                    <a:pt x="727811" y="967161"/>
                  </a:cubicBezTo>
                  <a:cubicBezTo>
                    <a:pt x="728126" y="987940"/>
                    <a:pt x="728047" y="1006195"/>
                    <a:pt x="727574" y="1021927"/>
                  </a:cubicBezTo>
                  <a:cubicBezTo>
                    <a:pt x="727298" y="1030286"/>
                    <a:pt x="722862" y="1036634"/>
                    <a:pt x="714267" y="1040971"/>
                  </a:cubicBezTo>
                  <a:cubicBezTo>
                    <a:pt x="696918" y="1049724"/>
                    <a:pt x="683276" y="1056525"/>
                    <a:pt x="673340" y="1061375"/>
                  </a:cubicBezTo>
                  <a:cubicBezTo>
                    <a:pt x="666132" y="1064889"/>
                    <a:pt x="657639" y="1064578"/>
                    <a:pt x="650688" y="1060547"/>
                  </a:cubicBezTo>
                  <a:lnTo>
                    <a:pt x="602665" y="1032809"/>
                  </a:lnTo>
                  <a:cubicBezTo>
                    <a:pt x="600535" y="1031587"/>
                    <a:pt x="599471" y="1032218"/>
                    <a:pt x="599471" y="1034702"/>
                  </a:cubicBezTo>
                  <a:lnTo>
                    <a:pt x="599471" y="1148374"/>
                  </a:lnTo>
                  <a:cubicBezTo>
                    <a:pt x="599472" y="1155146"/>
                    <a:pt x="596012" y="1161441"/>
                    <a:pt x="590304" y="1165052"/>
                  </a:cubicBezTo>
                  <a:lnTo>
                    <a:pt x="533941" y="1200597"/>
                  </a:lnTo>
                  <a:lnTo>
                    <a:pt x="526370" y="1200597"/>
                  </a:lnTo>
                  <a:lnTo>
                    <a:pt x="469475" y="1165230"/>
                  </a:lnTo>
                  <a:cubicBezTo>
                    <a:pt x="463735" y="1161626"/>
                    <a:pt x="460251" y="1155304"/>
                    <a:pt x="460249" y="1148492"/>
                  </a:cubicBezTo>
                  <a:lnTo>
                    <a:pt x="460249" y="1034406"/>
                  </a:lnTo>
                  <a:cubicBezTo>
                    <a:pt x="460249" y="1031804"/>
                    <a:pt x="459125" y="1031153"/>
                    <a:pt x="456878" y="1032454"/>
                  </a:cubicBezTo>
                  <a:lnTo>
                    <a:pt x="407848" y="1060725"/>
                  </a:lnTo>
                  <a:cubicBezTo>
                    <a:pt x="400532" y="1064963"/>
                    <a:pt x="391507" y="1064963"/>
                    <a:pt x="384191" y="1060725"/>
                  </a:cubicBezTo>
                  <a:cubicBezTo>
                    <a:pt x="362269" y="1048029"/>
                    <a:pt x="349356" y="1040655"/>
                    <a:pt x="345453" y="1038605"/>
                  </a:cubicBezTo>
                  <a:cubicBezTo>
                    <a:pt x="336305" y="1033716"/>
                    <a:pt x="331732" y="1026106"/>
                    <a:pt x="331732" y="1015776"/>
                  </a:cubicBezTo>
                  <a:cubicBezTo>
                    <a:pt x="331692" y="993578"/>
                    <a:pt x="331751" y="976742"/>
                    <a:pt x="331909" y="965268"/>
                  </a:cubicBezTo>
                  <a:cubicBezTo>
                    <a:pt x="332022" y="957452"/>
                    <a:pt x="336224" y="950283"/>
                    <a:pt x="342969" y="946402"/>
                  </a:cubicBezTo>
                  <a:lnTo>
                    <a:pt x="455813" y="881226"/>
                  </a:lnTo>
                  <a:cubicBezTo>
                    <a:pt x="456838" y="880674"/>
                    <a:pt x="457351" y="879807"/>
                    <a:pt x="457351" y="878624"/>
                  </a:cubicBezTo>
                  <a:lnTo>
                    <a:pt x="457351" y="830364"/>
                  </a:lnTo>
                  <a:cubicBezTo>
                    <a:pt x="457330" y="830038"/>
                    <a:pt x="457048" y="829791"/>
                    <a:pt x="456722" y="829812"/>
                  </a:cubicBezTo>
                  <a:cubicBezTo>
                    <a:pt x="456631" y="829818"/>
                    <a:pt x="456543" y="829845"/>
                    <a:pt x="456464" y="829890"/>
                  </a:cubicBezTo>
                  <a:cubicBezTo>
                    <a:pt x="438208" y="841995"/>
                    <a:pt x="418908" y="854494"/>
                    <a:pt x="398563" y="867387"/>
                  </a:cubicBezTo>
                  <a:cubicBezTo>
                    <a:pt x="382831" y="877323"/>
                    <a:pt x="365975" y="865849"/>
                    <a:pt x="365916" y="848461"/>
                  </a:cubicBezTo>
                  <a:cubicBezTo>
                    <a:pt x="365877" y="823700"/>
                    <a:pt x="365837" y="801285"/>
                    <a:pt x="365798" y="781216"/>
                  </a:cubicBezTo>
                  <a:cubicBezTo>
                    <a:pt x="365786" y="780855"/>
                    <a:pt x="365461" y="780585"/>
                    <a:pt x="365071" y="780611"/>
                  </a:cubicBezTo>
                  <a:cubicBezTo>
                    <a:pt x="364975" y="780617"/>
                    <a:pt x="364880" y="780642"/>
                    <a:pt x="364792" y="780684"/>
                  </a:cubicBezTo>
                  <a:lnTo>
                    <a:pt x="321145" y="805879"/>
                  </a:lnTo>
                  <a:cubicBezTo>
                    <a:pt x="320193" y="806468"/>
                    <a:pt x="319612" y="807496"/>
                    <a:pt x="319607" y="808599"/>
                  </a:cubicBezTo>
                  <a:lnTo>
                    <a:pt x="319607" y="937530"/>
                  </a:lnTo>
                  <a:cubicBezTo>
                    <a:pt x="319607" y="946441"/>
                    <a:pt x="315842" y="953262"/>
                    <a:pt x="308311" y="957994"/>
                  </a:cubicBezTo>
                  <a:cubicBezTo>
                    <a:pt x="302909" y="961384"/>
                    <a:pt x="288419" y="970414"/>
                    <a:pt x="264841" y="985081"/>
                  </a:cubicBezTo>
                  <a:cubicBezTo>
                    <a:pt x="255063" y="991192"/>
                    <a:pt x="245285" y="990916"/>
                    <a:pt x="235506" y="984253"/>
                  </a:cubicBezTo>
                  <a:cubicBezTo>
                    <a:pt x="223481" y="976052"/>
                    <a:pt x="211238" y="967910"/>
                    <a:pt x="198779" y="959827"/>
                  </a:cubicBezTo>
                  <a:cubicBezTo>
                    <a:pt x="192994" y="956105"/>
                    <a:pt x="189496" y="949689"/>
                    <a:pt x="189493" y="942794"/>
                  </a:cubicBezTo>
                  <a:lnTo>
                    <a:pt x="189493" y="885307"/>
                  </a:lnTo>
                  <a:cubicBezTo>
                    <a:pt x="189493" y="882311"/>
                    <a:pt x="188192" y="881562"/>
                    <a:pt x="185590" y="883060"/>
                  </a:cubicBezTo>
                  <a:cubicBezTo>
                    <a:pt x="130390" y="914879"/>
                    <a:pt x="98374" y="933311"/>
                    <a:pt x="89542" y="938358"/>
                  </a:cubicBezTo>
                  <a:cubicBezTo>
                    <a:pt x="82918" y="942143"/>
                    <a:pt x="75328" y="942281"/>
                    <a:pt x="66772" y="938772"/>
                  </a:cubicBezTo>
                  <a:cubicBezTo>
                    <a:pt x="51434" y="932582"/>
                    <a:pt x="35427" y="925859"/>
                    <a:pt x="18748" y="918605"/>
                  </a:cubicBezTo>
                  <a:cubicBezTo>
                    <a:pt x="8694" y="914228"/>
                    <a:pt x="2445" y="908176"/>
                    <a:pt x="0" y="900448"/>
                  </a:cubicBezTo>
                  <a:lnTo>
                    <a:pt x="0" y="828116"/>
                  </a:lnTo>
                  <a:cubicBezTo>
                    <a:pt x="33830" y="804262"/>
                    <a:pt x="71701" y="781965"/>
                    <a:pt x="113613" y="761226"/>
                  </a:cubicBezTo>
                  <a:cubicBezTo>
                    <a:pt x="113859" y="761126"/>
                    <a:pt x="113953" y="760834"/>
                    <a:pt x="113824" y="760574"/>
                  </a:cubicBezTo>
                  <a:cubicBezTo>
                    <a:pt x="113777" y="760479"/>
                    <a:pt x="113703" y="760397"/>
                    <a:pt x="113613" y="760339"/>
                  </a:cubicBezTo>
                  <a:lnTo>
                    <a:pt x="62632" y="730886"/>
                  </a:lnTo>
                  <a:cubicBezTo>
                    <a:pt x="56517" y="727367"/>
                    <a:pt x="52750" y="720826"/>
                    <a:pt x="52755" y="713734"/>
                  </a:cubicBezTo>
                  <a:lnTo>
                    <a:pt x="52755" y="660092"/>
                  </a:lnTo>
                  <a:cubicBezTo>
                    <a:pt x="52751" y="652269"/>
                    <a:pt x="56926" y="645048"/>
                    <a:pt x="63697" y="641166"/>
                  </a:cubicBezTo>
                  <a:lnTo>
                    <a:pt x="110360" y="614197"/>
                  </a:lnTo>
                  <a:cubicBezTo>
                    <a:pt x="117022" y="610353"/>
                    <a:pt x="125244" y="610353"/>
                    <a:pt x="131947" y="614197"/>
                  </a:cubicBezTo>
                  <a:lnTo>
                    <a:pt x="247158" y="680733"/>
                  </a:lnTo>
                  <a:cubicBezTo>
                    <a:pt x="248025" y="681245"/>
                    <a:pt x="248873" y="681245"/>
                    <a:pt x="249701" y="680733"/>
                  </a:cubicBezTo>
                  <a:lnTo>
                    <a:pt x="292224" y="656248"/>
                  </a:lnTo>
                  <a:cubicBezTo>
                    <a:pt x="292584" y="656021"/>
                    <a:pt x="292691" y="655547"/>
                    <a:pt x="292465" y="655187"/>
                  </a:cubicBezTo>
                  <a:cubicBezTo>
                    <a:pt x="292404" y="655090"/>
                    <a:pt x="292322" y="655008"/>
                    <a:pt x="292224" y="654946"/>
                  </a:cubicBezTo>
                  <a:lnTo>
                    <a:pt x="233732" y="621176"/>
                  </a:lnTo>
                  <a:cubicBezTo>
                    <a:pt x="223329" y="615155"/>
                    <a:pt x="219776" y="601840"/>
                    <a:pt x="225798" y="591437"/>
                  </a:cubicBezTo>
                  <a:cubicBezTo>
                    <a:pt x="227703" y="588144"/>
                    <a:pt x="230439" y="585408"/>
                    <a:pt x="233732" y="583502"/>
                  </a:cubicBezTo>
                  <a:lnTo>
                    <a:pt x="289385" y="551388"/>
                  </a:lnTo>
                  <a:cubicBezTo>
                    <a:pt x="289990" y="551002"/>
                    <a:pt x="290190" y="550214"/>
                    <a:pt x="289833" y="549626"/>
                  </a:cubicBezTo>
                  <a:cubicBezTo>
                    <a:pt x="289724" y="549447"/>
                    <a:pt x="289570" y="549300"/>
                    <a:pt x="289385" y="549199"/>
                  </a:cubicBezTo>
                  <a:lnTo>
                    <a:pt x="244378" y="523176"/>
                  </a:lnTo>
                  <a:cubicBezTo>
                    <a:pt x="243589" y="522743"/>
                    <a:pt x="242781" y="522762"/>
                    <a:pt x="241953" y="523236"/>
                  </a:cubicBezTo>
                  <a:cubicBezTo>
                    <a:pt x="226694" y="532304"/>
                    <a:pt x="189651" y="554305"/>
                    <a:pt x="130824" y="589239"/>
                  </a:cubicBezTo>
                  <a:cubicBezTo>
                    <a:pt x="123293" y="593734"/>
                    <a:pt x="115624" y="594010"/>
                    <a:pt x="107817" y="590067"/>
                  </a:cubicBezTo>
                  <a:cubicBezTo>
                    <a:pt x="107502" y="589909"/>
                    <a:pt x="93229" y="583088"/>
                    <a:pt x="64998" y="569603"/>
                  </a:cubicBezTo>
                  <a:cubicBezTo>
                    <a:pt x="55850" y="565227"/>
                    <a:pt x="51198" y="558465"/>
                    <a:pt x="51040" y="549317"/>
                  </a:cubicBezTo>
                  <a:cubicBezTo>
                    <a:pt x="50685" y="530431"/>
                    <a:pt x="50685" y="512097"/>
                    <a:pt x="51040" y="494315"/>
                  </a:cubicBezTo>
                  <a:cubicBezTo>
                    <a:pt x="51188" y="486018"/>
                    <a:pt x="55699" y="478388"/>
                    <a:pt x="62928" y="474206"/>
                  </a:cubicBezTo>
                  <a:lnTo>
                    <a:pt x="110005" y="447001"/>
                  </a:lnTo>
                  <a:cubicBezTo>
                    <a:pt x="111583" y="446094"/>
                    <a:pt x="111583" y="445207"/>
                    <a:pt x="110005" y="444339"/>
                  </a:cubicBezTo>
                  <a:cubicBezTo>
                    <a:pt x="62060" y="417488"/>
                    <a:pt x="30380" y="399962"/>
                    <a:pt x="14963" y="391761"/>
                  </a:cubicBezTo>
                  <a:cubicBezTo>
                    <a:pt x="7038" y="387542"/>
                    <a:pt x="2050" y="381747"/>
                    <a:pt x="0" y="374373"/>
                  </a:cubicBezTo>
                  <a:lnTo>
                    <a:pt x="0" y="305117"/>
                  </a:lnTo>
                  <a:cubicBezTo>
                    <a:pt x="11474" y="293210"/>
                    <a:pt x="30892" y="280908"/>
                    <a:pt x="58256" y="268212"/>
                  </a:cubicBezTo>
                  <a:cubicBezTo>
                    <a:pt x="76294" y="259873"/>
                    <a:pt x="80671" y="265078"/>
                    <a:pt x="98295" y="275132"/>
                  </a:cubicBezTo>
                  <a:cubicBezTo>
                    <a:pt x="133741" y="295359"/>
                    <a:pt x="162031" y="311603"/>
                    <a:pt x="183165" y="323865"/>
                  </a:cubicBezTo>
                  <a:cubicBezTo>
                    <a:pt x="184939" y="324891"/>
                    <a:pt x="185826" y="324378"/>
                    <a:pt x="185826" y="322328"/>
                  </a:cubicBezTo>
                  <a:lnTo>
                    <a:pt x="185826" y="261411"/>
                  </a:lnTo>
                  <a:cubicBezTo>
                    <a:pt x="185822" y="254483"/>
                    <a:pt x="189346" y="248037"/>
                    <a:pt x="195171" y="244319"/>
                  </a:cubicBezTo>
                  <a:lnTo>
                    <a:pt x="235743" y="218473"/>
                  </a:lnTo>
                  <a:cubicBezTo>
                    <a:pt x="242393" y="214220"/>
                    <a:pt x="250762" y="213969"/>
                    <a:pt x="257448" y="217823"/>
                  </a:cubicBezTo>
                  <a:lnTo>
                    <a:pt x="304644" y="245087"/>
                  </a:lnTo>
                  <a:cubicBezTo>
                    <a:pt x="311564" y="249082"/>
                    <a:pt x="315826" y="256455"/>
                    <a:pt x="315822" y="264427"/>
                  </a:cubicBezTo>
                  <a:lnTo>
                    <a:pt x="315822" y="397616"/>
                  </a:lnTo>
                  <a:cubicBezTo>
                    <a:pt x="315820" y="398421"/>
                    <a:pt x="316249" y="399166"/>
                    <a:pt x="316946" y="399568"/>
                  </a:cubicBezTo>
                  <a:lnTo>
                    <a:pt x="363314" y="426360"/>
                  </a:lnTo>
                  <a:cubicBezTo>
                    <a:pt x="364142" y="426833"/>
                    <a:pt x="364536" y="426596"/>
                    <a:pt x="364497" y="425650"/>
                  </a:cubicBezTo>
                  <a:cubicBezTo>
                    <a:pt x="364102" y="406764"/>
                    <a:pt x="363886" y="387759"/>
                    <a:pt x="363846" y="368637"/>
                  </a:cubicBezTo>
                  <a:cubicBezTo>
                    <a:pt x="363787" y="339834"/>
                    <a:pt x="378454" y="330667"/>
                    <a:pt x="403708" y="344861"/>
                  </a:cubicBezTo>
                  <a:cubicBezTo>
                    <a:pt x="415379" y="351446"/>
                    <a:pt x="432905" y="361066"/>
                    <a:pt x="456286" y="373723"/>
                  </a:cubicBezTo>
                  <a:cubicBezTo>
                    <a:pt x="456996" y="374117"/>
                    <a:pt x="457351" y="373900"/>
                    <a:pt x="457351" y="373072"/>
                  </a:cubicBezTo>
                  <a:lnTo>
                    <a:pt x="457351" y="322209"/>
                  </a:lnTo>
                  <a:cubicBezTo>
                    <a:pt x="457351" y="320869"/>
                    <a:pt x="456779" y="319863"/>
                    <a:pt x="455636" y="319193"/>
                  </a:cubicBezTo>
                  <a:cubicBezTo>
                    <a:pt x="399253" y="286704"/>
                    <a:pt x="361441" y="264900"/>
                    <a:pt x="342200" y="253781"/>
                  </a:cubicBezTo>
                  <a:cubicBezTo>
                    <a:pt x="335418" y="249878"/>
                    <a:pt x="331948" y="242741"/>
                    <a:pt x="331791" y="232372"/>
                  </a:cubicBezTo>
                  <a:cubicBezTo>
                    <a:pt x="331554" y="219676"/>
                    <a:pt x="331594" y="203195"/>
                    <a:pt x="331909" y="182928"/>
                  </a:cubicBezTo>
                  <a:cubicBezTo>
                    <a:pt x="332014" y="175192"/>
                    <a:pt x="336197" y="168086"/>
                    <a:pt x="342910" y="164239"/>
                  </a:cubicBezTo>
                  <a:lnTo>
                    <a:pt x="384842" y="139991"/>
                  </a:lnTo>
                  <a:cubicBezTo>
                    <a:pt x="392049" y="135818"/>
                    <a:pt x="400954" y="135818"/>
                    <a:pt x="408203" y="139991"/>
                  </a:cubicBezTo>
                  <a:lnTo>
                    <a:pt x="457410" y="168438"/>
                  </a:lnTo>
                  <a:cubicBezTo>
                    <a:pt x="459263" y="169503"/>
                    <a:pt x="460190" y="168951"/>
                    <a:pt x="460190" y="166782"/>
                  </a:cubicBezTo>
                  <a:lnTo>
                    <a:pt x="460190" y="52637"/>
                  </a:lnTo>
                  <a:cubicBezTo>
                    <a:pt x="460194" y="46362"/>
                    <a:pt x="463396" y="40491"/>
                    <a:pt x="468706" y="37023"/>
                  </a:cubicBezTo>
                  <a:lnTo>
                    <a:pt x="525720" y="0"/>
                  </a:lnTo>
                  <a:lnTo>
                    <a:pt x="533290" y="0"/>
                  </a:lnTo>
                  <a:close/>
                  <a:moveTo>
                    <a:pt x="337823" y="529800"/>
                  </a:moveTo>
                  <a:cubicBezTo>
                    <a:pt x="352727" y="538613"/>
                    <a:pt x="355744" y="556947"/>
                    <a:pt x="340662" y="566883"/>
                  </a:cubicBezTo>
                  <a:cubicBezTo>
                    <a:pt x="324339" y="577568"/>
                    <a:pt x="306202" y="588766"/>
                    <a:pt x="286251" y="600476"/>
                  </a:cubicBezTo>
                  <a:cubicBezTo>
                    <a:pt x="285418" y="600932"/>
                    <a:pt x="285135" y="601990"/>
                    <a:pt x="285619" y="602839"/>
                  </a:cubicBezTo>
                  <a:cubicBezTo>
                    <a:pt x="285771" y="603106"/>
                    <a:pt x="285989" y="603331"/>
                    <a:pt x="286251" y="603492"/>
                  </a:cubicBezTo>
                  <a:lnTo>
                    <a:pt x="345039" y="637381"/>
                  </a:lnTo>
                  <a:cubicBezTo>
                    <a:pt x="354969" y="643112"/>
                    <a:pt x="358372" y="655808"/>
                    <a:pt x="352641" y="665737"/>
                  </a:cubicBezTo>
                  <a:cubicBezTo>
                    <a:pt x="350819" y="668895"/>
                    <a:pt x="348197" y="671517"/>
                    <a:pt x="345039" y="673340"/>
                  </a:cubicBezTo>
                  <a:lnTo>
                    <a:pt x="258099" y="723552"/>
                  </a:lnTo>
                  <a:cubicBezTo>
                    <a:pt x="251950" y="727102"/>
                    <a:pt x="244375" y="727102"/>
                    <a:pt x="238227" y="723552"/>
                  </a:cubicBezTo>
                  <a:lnTo>
                    <a:pt x="123017" y="657016"/>
                  </a:lnTo>
                  <a:cubicBezTo>
                    <a:pt x="121637" y="656228"/>
                    <a:pt x="120257" y="656228"/>
                    <a:pt x="118877" y="657016"/>
                  </a:cubicBezTo>
                  <a:lnTo>
                    <a:pt x="96403" y="670028"/>
                  </a:lnTo>
                  <a:cubicBezTo>
                    <a:pt x="94865" y="670895"/>
                    <a:pt x="94096" y="672236"/>
                    <a:pt x="94096" y="674049"/>
                  </a:cubicBezTo>
                  <a:lnTo>
                    <a:pt x="94096" y="699599"/>
                  </a:lnTo>
                  <a:cubicBezTo>
                    <a:pt x="94090" y="701588"/>
                    <a:pt x="95195" y="703385"/>
                    <a:pt x="96935" y="704212"/>
                  </a:cubicBezTo>
                  <a:cubicBezTo>
                    <a:pt x="121065" y="716041"/>
                    <a:pt x="143993" y="727554"/>
                    <a:pt x="165718" y="738752"/>
                  </a:cubicBezTo>
                  <a:cubicBezTo>
                    <a:pt x="187009" y="749752"/>
                    <a:pt x="184466" y="771103"/>
                    <a:pt x="164062" y="780802"/>
                  </a:cubicBezTo>
                  <a:cubicBezTo>
                    <a:pt x="158029" y="783641"/>
                    <a:pt x="118128" y="805543"/>
                    <a:pt x="44357" y="846510"/>
                  </a:cubicBezTo>
                  <a:cubicBezTo>
                    <a:pt x="42386" y="847614"/>
                    <a:pt x="41400" y="849309"/>
                    <a:pt x="41400" y="851596"/>
                  </a:cubicBezTo>
                  <a:lnTo>
                    <a:pt x="41400" y="880044"/>
                  </a:lnTo>
                  <a:cubicBezTo>
                    <a:pt x="41399" y="882089"/>
                    <a:pt x="42611" y="883930"/>
                    <a:pt x="44475" y="884716"/>
                  </a:cubicBezTo>
                  <a:lnTo>
                    <a:pt x="73633" y="896840"/>
                  </a:lnTo>
                  <a:cubicBezTo>
                    <a:pt x="75525" y="897629"/>
                    <a:pt x="77339" y="897530"/>
                    <a:pt x="79074" y="896544"/>
                  </a:cubicBezTo>
                  <a:cubicBezTo>
                    <a:pt x="131947" y="866303"/>
                    <a:pt x="171376" y="843612"/>
                    <a:pt x="197359" y="828471"/>
                  </a:cubicBezTo>
                  <a:cubicBezTo>
                    <a:pt x="211731" y="820073"/>
                    <a:pt x="230184" y="827821"/>
                    <a:pt x="230598" y="844381"/>
                  </a:cubicBezTo>
                  <a:cubicBezTo>
                    <a:pt x="230874" y="855460"/>
                    <a:pt x="230992" y="883967"/>
                    <a:pt x="230952" y="929901"/>
                  </a:cubicBezTo>
                  <a:cubicBezTo>
                    <a:pt x="230951" y="931433"/>
                    <a:pt x="231761" y="932850"/>
                    <a:pt x="233082" y="933627"/>
                  </a:cubicBezTo>
                  <a:lnTo>
                    <a:pt x="249701" y="943208"/>
                  </a:lnTo>
                  <a:cubicBezTo>
                    <a:pt x="251278" y="944115"/>
                    <a:pt x="252835" y="944095"/>
                    <a:pt x="254373" y="943149"/>
                  </a:cubicBezTo>
                  <a:lnTo>
                    <a:pt x="275842" y="929428"/>
                  </a:lnTo>
                  <a:cubicBezTo>
                    <a:pt x="277311" y="928509"/>
                    <a:pt x="278205" y="926878"/>
                    <a:pt x="278207" y="925110"/>
                  </a:cubicBezTo>
                  <a:lnTo>
                    <a:pt x="278207" y="794464"/>
                  </a:lnTo>
                  <a:cubicBezTo>
                    <a:pt x="278210" y="787468"/>
                    <a:pt x="281922" y="780990"/>
                    <a:pt x="287966" y="777431"/>
                  </a:cubicBezTo>
                  <a:cubicBezTo>
                    <a:pt x="313319" y="762724"/>
                    <a:pt x="339657" y="747386"/>
                    <a:pt x="366981" y="731418"/>
                  </a:cubicBezTo>
                  <a:cubicBezTo>
                    <a:pt x="379578" y="724025"/>
                    <a:pt x="391939" y="718525"/>
                    <a:pt x="402171" y="731595"/>
                  </a:cubicBezTo>
                  <a:cubicBezTo>
                    <a:pt x="405916" y="736327"/>
                    <a:pt x="407710" y="743858"/>
                    <a:pt x="407553" y="754188"/>
                  </a:cubicBezTo>
                  <a:cubicBezTo>
                    <a:pt x="407198" y="776780"/>
                    <a:pt x="407079" y="795036"/>
                    <a:pt x="407198" y="808954"/>
                  </a:cubicBezTo>
                  <a:cubicBezTo>
                    <a:pt x="407237" y="811201"/>
                    <a:pt x="408203" y="811714"/>
                    <a:pt x="410096" y="810492"/>
                  </a:cubicBezTo>
                  <a:cubicBezTo>
                    <a:pt x="441402" y="790580"/>
                    <a:pt x="458751" y="779442"/>
                    <a:pt x="462141" y="777076"/>
                  </a:cubicBezTo>
                  <a:cubicBezTo>
                    <a:pt x="471782" y="770334"/>
                    <a:pt x="484793" y="767554"/>
                    <a:pt x="492777" y="777313"/>
                  </a:cubicBezTo>
                  <a:cubicBezTo>
                    <a:pt x="496562" y="782044"/>
                    <a:pt x="498475" y="786145"/>
                    <a:pt x="498514" y="789614"/>
                  </a:cubicBezTo>
                  <a:cubicBezTo>
                    <a:pt x="498869" y="820132"/>
                    <a:pt x="498928" y="853922"/>
                    <a:pt x="498692" y="890985"/>
                  </a:cubicBezTo>
                  <a:cubicBezTo>
                    <a:pt x="498620" y="899261"/>
                    <a:pt x="494166" y="906888"/>
                    <a:pt x="486981" y="911034"/>
                  </a:cubicBezTo>
                  <a:lnTo>
                    <a:pt x="375911" y="975145"/>
                  </a:lnTo>
                  <a:cubicBezTo>
                    <a:pt x="373979" y="976288"/>
                    <a:pt x="373013" y="977964"/>
                    <a:pt x="373013" y="980172"/>
                  </a:cubicBezTo>
                  <a:lnTo>
                    <a:pt x="373013" y="1003770"/>
                  </a:lnTo>
                  <a:cubicBezTo>
                    <a:pt x="373010" y="1005488"/>
                    <a:pt x="373938" y="1007073"/>
                    <a:pt x="375438" y="1007910"/>
                  </a:cubicBezTo>
                  <a:lnTo>
                    <a:pt x="393181" y="1018201"/>
                  </a:lnTo>
                  <a:cubicBezTo>
                    <a:pt x="394944" y="1019191"/>
                    <a:pt x="397096" y="1019191"/>
                    <a:pt x="398859" y="1018201"/>
                  </a:cubicBezTo>
                  <a:cubicBezTo>
                    <a:pt x="409977" y="1011735"/>
                    <a:pt x="433497" y="998329"/>
                    <a:pt x="469416" y="977984"/>
                  </a:cubicBezTo>
                  <a:cubicBezTo>
                    <a:pt x="477104" y="973647"/>
                    <a:pt x="485010" y="974002"/>
                    <a:pt x="493132" y="979048"/>
                  </a:cubicBezTo>
                  <a:cubicBezTo>
                    <a:pt x="503127" y="985377"/>
                    <a:pt x="501590" y="999039"/>
                    <a:pt x="501590" y="1011340"/>
                  </a:cubicBezTo>
                  <a:cubicBezTo>
                    <a:pt x="501511" y="1072297"/>
                    <a:pt x="501530" y="1113362"/>
                    <a:pt x="501649" y="1134535"/>
                  </a:cubicBezTo>
                  <a:cubicBezTo>
                    <a:pt x="501688" y="1136940"/>
                    <a:pt x="502733" y="1138734"/>
                    <a:pt x="504783" y="1139917"/>
                  </a:cubicBezTo>
                  <a:lnTo>
                    <a:pt x="528381" y="1153519"/>
                  </a:lnTo>
                  <a:cubicBezTo>
                    <a:pt x="529722" y="1154308"/>
                    <a:pt x="531062" y="1154288"/>
                    <a:pt x="532403" y="1153460"/>
                  </a:cubicBezTo>
                  <a:lnTo>
                    <a:pt x="555410" y="1138734"/>
                  </a:lnTo>
                  <a:cubicBezTo>
                    <a:pt x="557223" y="1137630"/>
                    <a:pt x="558130" y="1136013"/>
                    <a:pt x="558130" y="1133884"/>
                  </a:cubicBezTo>
                  <a:cubicBezTo>
                    <a:pt x="558130" y="1101671"/>
                    <a:pt x="558091" y="1059108"/>
                    <a:pt x="558012" y="1006195"/>
                  </a:cubicBezTo>
                  <a:cubicBezTo>
                    <a:pt x="558012" y="991764"/>
                    <a:pt x="559135" y="976801"/>
                    <a:pt x="575814" y="975382"/>
                  </a:cubicBezTo>
                  <a:cubicBezTo>
                    <a:pt x="581767" y="974830"/>
                    <a:pt x="589200" y="977156"/>
                    <a:pt x="598111" y="982360"/>
                  </a:cubicBezTo>
                  <a:cubicBezTo>
                    <a:pt x="622950" y="996831"/>
                    <a:pt x="643808" y="1008856"/>
                    <a:pt x="660684" y="1018437"/>
                  </a:cubicBezTo>
                  <a:cubicBezTo>
                    <a:pt x="662164" y="1019287"/>
                    <a:pt x="663976" y="1019354"/>
                    <a:pt x="665533" y="1018615"/>
                  </a:cubicBezTo>
                  <a:lnTo>
                    <a:pt x="683453" y="1010335"/>
                  </a:lnTo>
                  <a:cubicBezTo>
                    <a:pt x="685337" y="1009426"/>
                    <a:pt x="686532" y="1007517"/>
                    <a:pt x="686529" y="1005426"/>
                  </a:cubicBezTo>
                  <a:lnTo>
                    <a:pt x="686529" y="979995"/>
                  </a:lnTo>
                  <a:cubicBezTo>
                    <a:pt x="686524" y="977944"/>
                    <a:pt x="685444" y="976054"/>
                    <a:pt x="683690" y="975027"/>
                  </a:cubicBezTo>
                  <a:cubicBezTo>
                    <a:pt x="625257" y="941749"/>
                    <a:pt x="588569" y="920891"/>
                    <a:pt x="573625" y="912454"/>
                  </a:cubicBezTo>
                  <a:cubicBezTo>
                    <a:pt x="564557" y="907328"/>
                    <a:pt x="560003" y="898890"/>
                    <a:pt x="559963" y="887141"/>
                  </a:cubicBezTo>
                  <a:cubicBezTo>
                    <a:pt x="559766" y="833321"/>
                    <a:pt x="559825" y="801837"/>
                    <a:pt x="560141" y="792690"/>
                  </a:cubicBezTo>
                  <a:cubicBezTo>
                    <a:pt x="560910" y="771044"/>
                    <a:pt x="578712" y="766371"/>
                    <a:pt x="595863" y="776544"/>
                  </a:cubicBezTo>
                  <a:cubicBezTo>
                    <a:pt x="617588" y="789437"/>
                    <a:pt x="634345" y="799747"/>
                    <a:pt x="646134" y="807475"/>
                  </a:cubicBezTo>
                  <a:cubicBezTo>
                    <a:pt x="648342" y="808895"/>
                    <a:pt x="649446" y="808303"/>
                    <a:pt x="649446" y="805701"/>
                  </a:cubicBezTo>
                  <a:cubicBezTo>
                    <a:pt x="649565" y="771162"/>
                    <a:pt x="645011" y="738219"/>
                    <a:pt x="658673" y="729466"/>
                  </a:cubicBezTo>
                  <a:cubicBezTo>
                    <a:pt x="671625" y="721186"/>
                    <a:pt x="679432" y="727455"/>
                    <a:pt x="693567" y="735380"/>
                  </a:cubicBezTo>
                  <a:cubicBezTo>
                    <a:pt x="722507" y="751625"/>
                    <a:pt x="749299" y="766825"/>
                    <a:pt x="773942" y="780980"/>
                  </a:cubicBezTo>
                  <a:cubicBezTo>
                    <a:pt x="780312" y="784643"/>
                    <a:pt x="784237" y="791433"/>
                    <a:pt x="784233" y="798781"/>
                  </a:cubicBezTo>
                  <a:lnTo>
                    <a:pt x="784233" y="928955"/>
                  </a:lnTo>
                  <a:cubicBezTo>
                    <a:pt x="784232" y="930961"/>
                    <a:pt x="785291" y="932810"/>
                    <a:pt x="787012" y="933804"/>
                  </a:cubicBezTo>
                  <a:lnTo>
                    <a:pt x="804992" y="944154"/>
                  </a:lnTo>
                  <a:cubicBezTo>
                    <a:pt x="807003" y="945337"/>
                    <a:pt x="809033" y="945337"/>
                    <a:pt x="811084" y="944154"/>
                  </a:cubicBezTo>
                  <a:lnTo>
                    <a:pt x="829832" y="933331"/>
                  </a:lnTo>
                  <a:cubicBezTo>
                    <a:pt x="831614" y="932317"/>
                    <a:pt x="832702" y="930413"/>
                    <a:pt x="832671" y="928363"/>
                  </a:cubicBezTo>
                  <a:cubicBezTo>
                    <a:pt x="832237" y="890315"/>
                    <a:pt x="832296" y="863779"/>
                    <a:pt x="832848" y="848757"/>
                  </a:cubicBezTo>
                  <a:cubicBezTo>
                    <a:pt x="833617" y="827761"/>
                    <a:pt x="853252" y="824686"/>
                    <a:pt x="869398" y="834090"/>
                  </a:cubicBezTo>
                  <a:cubicBezTo>
                    <a:pt x="916791" y="861650"/>
                    <a:pt x="953066" y="882390"/>
                    <a:pt x="978221" y="896308"/>
                  </a:cubicBezTo>
                  <a:cubicBezTo>
                    <a:pt x="979995" y="897294"/>
                    <a:pt x="981809" y="897372"/>
                    <a:pt x="983662" y="896544"/>
                  </a:cubicBezTo>
                  <a:lnTo>
                    <a:pt x="1009744" y="884420"/>
                  </a:lnTo>
                  <a:cubicBezTo>
                    <a:pt x="1011438" y="883621"/>
                    <a:pt x="1012520" y="881917"/>
                    <a:pt x="1012524" y="880043"/>
                  </a:cubicBezTo>
                  <a:lnTo>
                    <a:pt x="1012524" y="850472"/>
                  </a:lnTo>
                  <a:cubicBezTo>
                    <a:pt x="1012524" y="848501"/>
                    <a:pt x="1011676" y="847022"/>
                    <a:pt x="1009981" y="846037"/>
                  </a:cubicBezTo>
                  <a:cubicBezTo>
                    <a:pt x="990069" y="834208"/>
                    <a:pt x="952474" y="811596"/>
                    <a:pt x="897195" y="778200"/>
                  </a:cubicBezTo>
                  <a:cubicBezTo>
                    <a:pt x="885170" y="770945"/>
                    <a:pt x="881739" y="761403"/>
                    <a:pt x="886905" y="749575"/>
                  </a:cubicBezTo>
                  <a:cubicBezTo>
                    <a:pt x="888286" y="746465"/>
                    <a:pt x="890627" y="743875"/>
                    <a:pt x="893588" y="742182"/>
                  </a:cubicBezTo>
                  <a:lnTo>
                    <a:pt x="963258" y="701965"/>
                  </a:lnTo>
                  <a:cubicBezTo>
                    <a:pt x="964756" y="701097"/>
                    <a:pt x="965505" y="699796"/>
                    <a:pt x="965505" y="698061"/>
                  </a:cubicBezTo>
                  <a:lnTo>
                    <a:pt x="965505" y="675824"/>
                  </a:lnTo>
                  <a:cubicBezTo>
                    <a:pt x="965505" y="673773"/>
                    <a:pt x="964697" y="672117"/>
                    <a:pt x="963080" y="670856"/>
                  </a:cubicBezTo>
                  <a:lnTo>
                    <a:pt x="945633" y="657608"/>
                  </a:lnTo>
                  <a:cubicBezTo>
                    <a:pt x="943898" y="656307"/>
                    <a:pt x="942104" y="656188"/>
                    <a:pt x="940251" y="657253"/>
                  </a:cubicBezTo>
                  <a:lnTo>
                    <a:pt x="827880" y="722133"/>
                  </a:lnTo>
                  <a:cubicBezTo>
                    <a:pt x="821531" y="725791"/>
                    <a:pt x="813747" y="725991"/>
                    <a:pt x="807180" y="722665"/>
                  </a:cubicBezTo>
                  <a:cubicBezTo>
                    <a:pt x="780605" y="709141"/>
                    <a:pt x="750206" y="693015"/>
                    <a:pt x="715982" y="674286"/>
                  </a:cubicBezTo>
                  <a:cubicBezTo>
                    <a:pt x="699954" y="665474"/>
                    <a:pt x="701255" y="645898"/>
                    <a:pt x="715864" y="637322"/>
                  </a:cubicBezTo>
                  <a:cubicBezTo>
                    <a:pt x="737786" y="624468"/>
                    <a:pt x="756022" y="613980"/>
                    <a:pt x="770571" y="605858"/>
                  </a:cubicBezTo>
                  <a:cubicBezTo>
                    <a:pt x="772424" y="604833"/>
                    <a:pt x="772444" y="603749"/>
                    <a:pt x="770630" y="602605"/>
                  </a:cubicBezTo>
                  <a:lnTo>
                    <a:pt x="717106" y="569012"/>
                  </a:lnTo>
                  <a:cubicBezTo>
                    <a:pt x="707237" y="562800"/>
                    <a:pt x="704272" y="549765"/>
                    <a:pt x="710484" y="539896"/>
                  </a:cubicBezTo>
                  <a:cubicBezTo>
                    <a:pt x="712142" y="537261"/>
                    <a:pt x="714363" y="535025"/>
                    <a:pt x="716987" y="533349"/>
                  </a:cubicBezTo>
                  <a:lnTo>
                    <a:pt x="803868" y="477932"/>
                  </a:lnTo>
                  <a:cubicBezTo>
                    <a:pt x="810696" y="473573"/>
                    <a:pt x="819362" y="473368"/>
                    <a:pt x="826342" y="477400"/>
                  </a:cubicBezTo>
                  <a:lnTo>
                    <a:pt x="944155" y="545414"/>
                  </a:lnTo>
                  <a:cubicBezTo>
                    <a:pt x="945219" y="546035"/>
                    <a:pt x="946381" y="546126"/>
                    <a:pt x="947171" y="545651"/>
                  </a:cubicBezTo>
                  <a:lnTo>
                    <a:pt x="964559" y="535596"/>
                  </a:lnTo>
                  <a:cubicBezTo>
                    <a:pt x="966530" y="534453"/>
                    <a:pt x="967516" y="532738"/>
                    <a:pt x="967516" y="530451"/>
                  </a:cubicBezTo>
                  <a:lnTo>
                    <a:pt x="967220" y="507149"/>
                  </a:lnTo>
                  <a:cubicBezTo>
                    <a:pt x="967181" y="505138"/>
                    <a:pt x="965998" y="503482"/>
                    <a:pt x="963672" y="502181"/>
                  </a:cubicBezTo>
                  <a:cubicBezTo>
                    <a:pt x="962095" y="501313"/>
                    <a:pt x="939916" y="488696"/>
                    <a:pt x="897136" y="464329"/>
                  </a:cubicBezTo>
                  <a:cubicBezTo>
                    <a:pt x="879985" y="454571"/>
                    <a:pt x="878270" y="436591"/>
                    <a:pt x="895362" y="426656"/>
                  </a:cubicBezTo>
                  <a:cubicBezTo>
                    <a:pt x="931715" y="405561"/>
                    <a:pt x="971301" y="382850"/>
                    <a:pt x="1014121" y="358523"/>
                  </a:cubicBezTo>
                  <a:cubicBezTo>
                    <a:pt x="1016171" y="357340"/>
                    <a:pt x="1017196" y="355546"/>
                    <a:pt x="1017196" y="353141"/>
                  </a:cubicBezTo>
                  <a:lnTo>
                    <a:pt x="1017196" y="326054"/>
                  </a:lnTo>
                  <a:cubicBezTo>
                    <a:pt x="1017196" y="323846"/>
                    <a:pt x="1016250" y="322190"/>
                    <a:pt x="1014357" y="321086"/>
                  </a:cubicBezTo>
                  <a:lnTo>
                    <a:pt x="992001" y="308193"/>
                  </a:lnTo>
                  <a:cubicBezTo>
                    <a:pt x="990052" y="307085"/>
                    <a:pt x="987662" y="307063"/>
                    <a:pt x="985673" y="308134"/>
                  </a:cubicBezTo>
                  <a:cubicBezTo>
                    <a:pt x="904726" y="351939"/>
                    <a:pt x="864095" y="373920"/>
                    <a:pt x="863780" y="374078"/>
                  </a:cubicBezTo>
                  <a:cubicBezTo>
                    <a:pt x="845741" y="382653"/>
                    <a:pt x="832375" y="370352"/>
                    <a:pt x="832316" y="352254"/>
                  </a:cubicBezTo>
                  <a:cubicBezTo>
                    <a:pt x="832276" y="320199"/>
                    <a:pt x="832513" y="297547"/>
                    <a:pt x="833026" y="284299"/>
                  </a:cubicBezTo>
                  <a:cubicBezTo>
                    <a:pt x="833656" y="268449"/>
                    <a:pt x="826047" y="260524"/>
                    <a:pt x="810196" y="260524"/>
                  </a:cubicBezTo>
                  <a:lnTo>
                    <a:pt x="804814" y="260524"/>
                  </a:lnTo>
                  <a:cubicBezTo>
                    <a:pt x="789516" y="260524"/>
                    <a:pt x="781946" y="268173"/>
                    <a:pt x="782104" y="283471"/>
                  </a:cubicBezTo>
                  <a:cubicBezTo>
                    <a:pt x="782853" y="347030"/>
                    <a:pt x="782853" y="389632"/>
                    <a:pt x="782104" y="411278"/>
                  </a:cubicBezTo>
                  <a:cubicBezTo>
                    <a:pt x="781788" y="420741"/>
                    <a:pt x="776623" y="428292"/>
                    <a:pt x="766608" y="433930"/>
                  </a:cubicBezTo>
                  <a:cubicBezTo>
                    <a:pt x="756002" y="439923"/>
                    <a:pt x="727318" y="455931"/>
                    <a:pt x="680556" y="481954"/>
                  </a:cubicBezTo>
                  <a:cubicBezTo>
                    <a:pt x="670468" y="487539"/>
                    <a:pt x="657763" y="483890"/>
                    <a:pt x="652178" y="473803"/>
                  </a:cubicBezTo>
                  <a:cubicBezTo>
                    <a:pt x="650472" y="470722"/>
                    <a:pt x="649573" y="467260"/>
                    <a:pt x="649565" y="463738"/>
                  </a:cubicBezTo>
                  <a:lnTo>
                    <a:pt x="649565" y="393772"/>
                  </a:lnTo>
                  <a:cubicBezTo>
                    <a:pt x="649552" y="392925"/>
                    <a:pt x="648878" y="392235"/>
                    <a:pt x="648059" y="392231"/>
                  </a:cubicBezTo>
                  <a:cubicBezTo>
                    <a:pt x="647774" y="392229"/>
                    <a:pt x="647496" y="392312"/>
                    <a:pt x="647258" y="392471"/>
                  </a:cubicBezTo>
                  <a:cubicBezTo>
                    <a:pt x="634523" y="400869"/>
                    <a:pt x="617332" y="411416"/>
                    <a:pt x="595686" y="424112"/>
                  </a:cubicBezTo>
                  <a:cubicBezTo>
                    <a:pt x="577825" y="434640"/>
                    <a:pt x="560377" y="429021"/>
                    <a:pt x="560141" y="406606"/>
                  </a:cubicBezTo>
                  <a:cubicBezTo>
                    <a:pt x="559747" y="373171"/>
                    <a:pt x="559707" y="340701"/>
                    <a:pt x="560023" y="309198"/>
                  </a:cubicBezTo>
                  <a:cubicBezTo>
                    <a:pt x="560065" y="301398"/>
                    <a:pt x="564256" y="294210"/>
                    <a:pt x="571023" y="290332"/>
                  </a:cubicBezTo>
                  <a:lnTo>
                    <a:pt x="679550" y="227640"/>
                  </a:lnTo>
                  <a:cubicBezTo>
                    <a:pt x="691576" y="220701"/>
                    <a:pt x="694493" y="211041"/>
                    <a:pt x="688303" y="198660"/>
                  </a:cubicBezTo>
                  <a:cubicBezTo>
                    <a:pt x="687988" y="197990"/>
                    <a:pt x="687731" y="197537"/>
                    <a:pt x="687534" y="197300"/>
                  </a:cubicBezTo>
                  <a:cubicBezTo>
                    <a:pt x="677283" y="183185"/>
                    <a:pt x="665592" y="179892"/>
                    <a:pt x="652463" y="187423"/>
                  </a:cubicBezTo>
                  <a:cubicBezTo>
                    <a:pt x="639057" y="195151"/>
                    <a:pt x="622852" y="204338"/>
                    <a:pt x="603847" y="214984"/>
                  </a:cubicBezTo>
                  <a:cubicBezTo>
                    <a:pt x="589357" y="223086"/>
                    <a:pt x="578239" y="230952"/>
                    <a:pt x="565819" y="220898"/>
                  </a:cubicBezTo>
                  <a:cubicBezTo>
                    <a:pt x="560851" y="216837"/>
                    <a:pt x="558307" y="211475"/>
                    <a:pt x="558189" y="204811"/>
                  </a:cubicBezTo>
                  <a:cubicBezTo>
                    <a:pt x="558031" y="195151"/>
                    <a:pt x="558031" y="149118"/>
                    <a:pt x="558189" y="66713"/>
                  </a:cubicBezTo>
                  <a:cubicBezTo>
                    <a:pt x="558189" y="64387"/>
                    <a:pt x="557184" y="62632"/>
                    <a:pt x="555173" y="61449"/>
                  </a:cubicBezTo>
                  <a:lnTo>
                    <a:pt x="531279" y="47669"/>
                  </a:lnTo>
                  <a:cubicBezTo>
                    <a:pt x="529820" y="46841"/>
                    <a:pt x="528362" y="46880"/>
                    <a:pt x="526903" y="47787"/>
                  </a:cubicBezTo>
                  <a:lnTo>
                    <a:pt x="504074" y="62336"/>
                  </a:lnTo>
                  <a:cubicBezTo>
                    <a:pt x="502420" y="63400"/>
                    <a:pt x="501435" y="65213"/>
                    <a:pt x="501471" y="67127"/>
                  </a:cubicBezTo>
                  <a:cubicBezTo>
                    <a:pt x="501747" y="128162"/>
                    <a:pt x="501668" y="173998"/>
                    <a:pt x="501235" y="204634"/>
                  </a:cubicBezTo>
                  <a:cubicBezTo>
                    <a:pt x="500939" y="225452"/>
                    <a:pt x="482191" y="229474"/>
                    <a:pt x="466636" y="220780"/>
                  </a:cubicBezTo>
                  <a:cubicBezTo>
                    <a:pt x="426261" y="198108"/>
                    <a:pt x="403649" y="185432"/>
                    <a:pt x="398799" y="182751"/>
                  </a:cubicBezTo>
                  <a:cubicBezTo>
                    <a:pt x="397084" y="181799"/>
                    <a:pt x="394994" y="181821"/>
                    <a:pt x="393299" y="182810"/>
                  </a:cubicBezTo>
                  <a:lnTo>
                    <a:pt x="375852" y="192864"/>
                  </a:lnTo>
                  <a:cubicBezTo>
                    <a:pt x="373999" y="193968"/>
                    <a:pt x="373072" y="195605"/>
                    <a:pt x="373072" y="197773"/>
                  </a:cubicBezTo>
                  <a:lnTo>
                    <a:pt x="373072" y="220957"/>
                  </a:lnTo>
                  <a:cubicBezTo>
                    <a:pt x="373069" y="222784"/>
                    <a:pt x="374017" y="224456"/>
                    <a:pt x="375556" y="225334"/>
                  </a:cubicBezTo>
                  <a:cubicBezTo>
                    <a:pt x="408085" y="243983"/>
                    <a:pt x="440712" y="262771"/>
                    <a:pt x="473438" y="281697"/>
                  </a:cubicBezTo>
                  <a:cubicBezTo>
                    <a:pt x="489288" y="290864"/>
                    <a:pt x="498751" y="294235"/>
                    <a:pt x="498810" y="311919"/>
                  </a:cubicBezTo>
                  <a:cubicBezTo>
                    <a:pt x="498849" y="344605"/>
                    <a:pt x="498790" y="377114"/>
                    <a:pt x="498632" y="409445"/>
                  </a:cubicBezTo>
                  <a:cubicBezTo>
                    <a:pt x="498551" y="421136"/>
                    <a:pt x="489030" y="430561"/>
                    <a:pt x="477368" y="430496"/>
                  </a:cubicBezTo>
                  <a:cubicBezTo>
                    <a:pt x="473701" y="430475"/>
                    <a:pt x="470105" y="429498"/>
                    <a:pt x="466932" y="427661"/>
                  </a:cubicBezTo>
                  <a:lnTo>
                    <a:pt x="408913" y="394127"/>
                  </a:lnTo>
                  <a:cubicBezTo>
                    <a:pt x="406823" y="392944"/>
                    <a:pt x="405739" y="393555"/>
                    <a:pt x="405660" y="395960"/>
                  </a:cubicBezTo>
                  <a:cubicBezTo>
                    <a:pt x="405345" y="407710"/>
                    <a:pt x="405285" y="426360"/>
                    <a:pt x="405483" y="451909"/>
                  </a:cubicBezTo>
                  <a:cubicBezTo>
                    <a:pt x="405561" y="460465"/>
                    <a:pt x="404812" y="466616"/>
                    <a:pt x="403235" y="470362"/>
                  </a:cubicBezTo>
                  <a:cubicBezTo>
                    <a:pt x="395488" y="488755"/>
                    <a:pt x="378277" y="482309"/>
                    <a:pt x="364024" y="474206"/>
                  </a:cubicBezTo>
                  <a:cubicBezTo>
                    <a:pt x="327119" y="453191"/>
                    <a:pt x="301096" y="438326"/>
                    <a:pt x="285955" y="429613"/>
                  </a:cubicBezTo>
                  <a:cubicBezTo>
                    <a:pt x="278825" y="425522"/>
                    <a:pt x="274427" y="417897"/>
                    <a:pt x="274422" y="409622"/>
                  </a:cubicBezTo>
                  <a:lnTo>
                    <a:pt x="274422" y="278444"/>
                  </a:lnTo>
                  <a:cubicBezTo>
                    <a:pt x="274422" y="276472"/>
                    <a:pt x="273575" y="274994"/>
                    <a:pt x="271879" y="274008"/>
                  </a:cubicBezTo>
                  <a:lnTo>
                    <a:pt x="250233" y="261529"/>
                  </a:lnTo>
                  <a:cubicBezTo>
                    <a:pt x="248459" y="260504"/>
                    <a:pt x="246704" y="260543"/>
                    <a:pt x="244969" y="261647"/>
                  </a:cubicBezTo>
                  <a:lnTo>
                    <a:pt x="229415" y="271583"/>
                  </a:lnTo>
                  <a:cubicBezTo>
                    <a:pt x="227977" y="272506"/>
                    <a:pt x="227108" y="274066"/>
                    <a:pt x="227108" y="275723"/>
                  </a:cubicBezTo>
                  <a:lnTo>
                    <a:pt x="227108" y="360238"/>
                  </a:lnTo>
                  <a:cubicBezTo>
                    <a:pt x="227121" y="371964"/>
                    <a:pt x="217625" y="381481"/>
                    <a:pt x="205899" y="381493"/>
                  </a:cubicBezTo>
                  <a:cubicBezTo>
                    <a:pt x="202152" y="381497"/>
                    <a:pt x="198472" y="380510"/>
                    <a:pt x="195230" y="378632"/>
                  </a:cubicBezTo>
                  <a:lnTo>
                    <a:pt x="75052" y="309257"/>
                  </a:lnTo>
                  <a:cubicBezTo>
                    <a:pt x="73554" y="308390"/>
                    <a:pt x="71996" y="308331"/>
                    <a:pt x="70380" y="309080"/>
                  </a:cubicBezTo>
                  <a:lnTo>
                    <a:pt x="44830" y="320908"/>
                  </a:lnTo>
                  <a:cubicBezTo>
                    <a:pt x="42543" y="321973"/>
                    <a:pt x="41400" y="323767"/>
                    <a:pt x="41400" y="326290"/>
                  </a:cubicBezTo>
                  <a:lnTo>
                    <a:pt x="41400" y="355980"/>
                  </a:lnTo>
                  <a:cubicBezTo>
                    <a:pt x="41400" y="358070"/>
                    <a:pt x="42326" y="359647"/>
                    <a:pt x="44180" y="360711"/>
                  </a:cubicBezTo>
                  <a:cubicBezTo>
                    <a:pt x="50212" y="364063"/>
                    <a:pt x="90488" y="386103"/>
                    <a:pt x="165008" y="426833"/>
                  </a:cubicBezTo>
                  <a:cubicBezTo>
                    <a:pt x="182041" y="436118"/>
                    <a:pt x="178079" y="456582"/>
                    <a:pt x="162288" y="465453"/>
                  </a:cubicBezTo>
                  <a:cubicBezTo>
                    <a:pt x="124279" y="486744"/>
                    <a:pt x="101824" y="499362"/>
                    <a:pt x="94924" y="503304"/>
                  </a:cubicBezTo>
                  <a:cubicBezTo>
                    <a:pt x="93189" y="504290"/>
                    <a:pt x="92322" y="505769"/>
                    <a:pt x="92322" y="507740"/>
                  </a:cubicBezTo>
                  <a:lnTo>
                    <a:pt x="92322" y="532403"/>
                  </a:lnTo>
                  <a:cubicBezTo>
                    <a:pt x="92322" y="534414"/>
                    <a:pt x="93189" y="535932"/>
                    <a:pt x="94924" y="536957"/>
                  </a:cubicBezTo>
                  <a:lnTo>
                    <a:pt x="113081" y="547425"/>
                  </a:lnTo>
                  <a:cubicBezTo>
                    <a:pt x="114934" y="548490"/>
                    <a:pt x="116767" y="548490"/>
                    <a:pt x="118581" y="547425"/>
                  </a:cubicBezTo>
                  <a:lnTo>
                    <a:pt x="231485" y="482250"/>
                  </a:lnTo>
                  <a:cubicBezTo>
                    <a:pt x="240001" y="477321"/>
                    <a:pt x="248478" y="477341"/>
                    <a:pt x="256916" y="482309"/>
                  </a:cubicBezTo>
                  <a:cubicBezTo>
                    <a:pt x="284122" y="498199"/>
                    <a:pt x="311091" y="514029"/>
                    <a:pt x="337823" y="529800"/>
                  </a:cubicBezTo>
                  <a:close/>
                </a:path>
              </a:pathLst>
            </a:custGeom>
            <a:grpFill/>
            <a:ln w="59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-form: Shape 465">
              <a:extLst>
                <a:ext uri="{FF2B5EF4-FFF2-40B4-BE49-F238E27FC236}">
                  <a16:creationId xmlns:a16="http://schemas.microsoft.com/office/drawing/2014/main" id="{61BA8AEB-CE05-783F-82E8-7AAE13897070}"/>
                </a:ext>
              </a:extLst>
            </p:cNvPr>
            <p:cNvSpPr/>
            <p:nvPr/>
          </p:nvSpPr>
          <p:spPr>
            <a:xfrm>
              <a:off x="1597159" y="3184671"/>
              <a:ext cx="209875" cy="181647"/>
            </a:xfrm>
            <a:custGeom>
              <a:avLst/>
              <a:gdLst>
                <a:gd name="connsiteX0" fmla="*/ 168850 w 209875"/>
                <a:gd name="connsiteY0" fmla="*/ 14608 h 181647"/>
                <a:gd name="connsiteX1" fmla="*/ 206997 w 209875"/>
                <a:gd name="connsiteY1" fmla="*/ 81972 h 181647"/>
                <a:gd name="connsiteX2" fmla="*/ 206878 w 209875"/>
                <a:gd name="connsiteY2" fmla="*/ 104032 h 181647"/>
                <a:gd name="connsiteX3" fmla="*/ 168495 w 209875"/>
                <a:gd name="connsiteY3" fmla="*/ 170568 h 181647"/>
                <a:gd name="connsiteX4" fmla="*/ 150101 w 209875"/>
                <a:gd name="connsiteY4" fmla="*/ 181332 h 181647"/>
                <a:gd name="connsiteX5" fmla="*/ 69194 w 209875"/>
                <a:gd name="connsiteY5" fmla="*/ 181568 h 181647"/>
                <a:gd name="connsiteX6" fmla="*/ 45774 w 209875"/>
                <a:gd name="connsiteY6" fmla="*/ 169858 h 181647"/>
                <a:gd name="connsiteX7" fmla="*/ 4610 w 209875"/>
                <a:gd name="connsiteY7" fmla="*/ 107522 h 181647"/>
                <a:gd name="connsiteX8" fmla="*/ 3723 w 209875"/>
                <a:gd name="connsiteY8" fmla="*/ 80671 h 181647"/>
                <a:gd name="connsiteX9" fmla="*/ 43053 w 209875"/>
                <a:gd name="connsiteY9" fmla="*/ 12598 h 181647"/>
                <a:gd name="connsiteX10" fmla="*/ 64817 w 209875"/>
                <a:gd name="connsiteY10" fmla="*/ 59 h 181647"/>
                <a:gd name="connsiteX11" fmla="*/ 144719 w 209875"/>
                <a:gd name="connsiteY11" fmla="*/ 0 h 181647"/>
                <a:gd name="connsiteX12" fmla="*/ 168850 w 209875"/>
                <a:gd name="connsiteY12" fmla="*/ 14608 h 181647"/>
                <a:gd name="connsiteX13" fmla="*/ 105508 w 209875"/>
                <a:gd name="connsiteY13" fmla="*/ 41518 h 181647"/>
                <a:gd name="connsiteX14" fmla="*/ 77297 w 209875"/>
                <a:gd name="connsiteY14" fmla="*/ 42169 h 181647"/>
                <a:gd name="connsiteX15" fmla="*/ 72329 w 209875"/>
                <a:gd name="connsiteY15" fmla="*/ 45481 h 181647"/>
                <a:gd name="connsiteX16" fmla="*/ 46720 w 209875"/>
                <a:gd name="connsiteY16" fmla="*/ 89897 h 181647"/>
                <a:gd name="connsiteX17" fmla="*/ 46838 w 209875"/>
                <a:gd name="connsiteY17" fmla="*/ 96403 h 181647"/>
                <a:gd name="connsiteX18" fmla="*/ 72624 w 209875"/>
                <a:gd name="connsiteY18" fmla="*/ 136797 h 181647"/>
                <a:gd name="connsiteX19" fmla="*/ 78598 w 209875"/>
                <a:gd name="connsiteY19" fmla="*/ 140109 h 181647"/>
                <a:gd name="connsiteX20" fmla="*/ 105626 w 209875"/>
                <a:gd name="connsiteY20" fmla="*/ 140168 h 181647"/>
                <a:gd name="connsiteX21" fmla="*/ 132595 w 209875"/>
                <a:gd name="connsiteY21" fmla="*/ 140109 h 181647"/>
                <a:gd name="connsiteX22" fmla="*/ 138568 w 209875"/>
                <a:gd name="connsiteY22" fmla="*/ 136738 h 181647"/>
                <a:gd name="connsiteX23" fmla="*/ 164296 w 209875"/>
                <a:gd name="connsiteY23" fmla="*/ 96285 h 181647"/>
                <a:gd name="connsiteX24" fmla="*/ 164414 w 209875"/>
                <a:gd name="connsiteY24" fmla="*/ 89779 h 181647"/>
                <a:gd name="connsiteX25" fmla="*/ 138746 w 209875"/>
                <a:gd name="connsiteY25" fmla="*/ 45422 h 181647"/>
                <a:gd name="connsiteX26" fmla="*/ 133778 w 209875"/>
                <a:gd name="connsiteY26" fmla="*/ 42110 h 181647"/>
                <a:gd name="connsiteX27" fmla="*/ 105508 w 209875"/>
                <a:gd name="connsiteY27" fmla="*/ 41518 h 181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09875" h="181647">
                  <a:moveTo>
                    <a:pt x="168850" y="14608"/>
                  </a:moveTo>
                  <a:cubicBezTo>
                    <a:pt x="180028" y="36846"/>
                    <a:pt x="193926" y="58788"/>
                    <a:pt x="206997" y="81972"/>
                  </a:cubicBezTo>
                  <a:cubicBezTo>
                    <a:pt x="210877" y="88825"/>
                    <a:pt x="210832" y="97221"/>
                    <a:pt x="206878" y="104032"/>
                  </a:cubicBezTo>
                  <a:lnTo>
                    <a:pt x="168495" y="170568"/>
                  </a:lnTo>
                  <a:cubicBezTo>
                    <a:pt x="164690" y="177161"/>
                    <a:pt x="157696" y="181254"/>
                    <a:pt x="150101" y="181332"/>
                  </a:cubicBezTo>
                  <a:cubicBezTo>
                    <a:pt x="125577" y="181647"/>
                    <a:pt x="98608" y="181726"/>
                    <a:pt x="69194" y="181568"/>
                  </a:cubicBezTo>
                  <a:cubicBezTo>
                    <a:pt x="58667" y="181529"/>
                    <a:pt x="50860" y="177626"/>
                    <a:pt x="45774" y="169858"/>
                  </a:cubicBezTo>
                  <a:cubicBezTo>
                    <a:pt x="23654" y="136226"/>
                    <a:pt x="9933" y="115447"/>
                    <a:pt x="4610" y="107522"/>
                  </a:cubicBezTo>
                  <a:cubicBezTo>
                    <a:pt x="-1225" y="98769"/>
                    <a:pt x="-1521" y="89818"/>
                    <a:pt x="3723" y="80671"/>
                  </a:cubicBezTo>
                  <a:lnTo>
                    <a:pt x="43053" y="12598"/>
                  </a:lnTo>
                  <a:cubicBezTo>
                    <a:pt x="47563" y="4832"/>
                    <a:pt x="55856" y="55"/>
                    <a:pt x="64817" y="59"/>
                  </a:cubicBezTo>
                  <a:cubicBezTo>
                    <a:pt x="105035" y="99"/>
                    <a:pt x="131669" y="79"/>
                    <a:pt x="144719" y="0"/>
                  </a:cubicBezTo>
                  <a:cubicBezTo>
                    <a:pt x="155878" y="-39"/>
                    <a:pt x="163921" y="4830"/>
                    <a:pt x="168850" y="14608"/>
                  </a:cubicBezTo>
                  <a:close/>
                  <a:moveTo>
                    <a:pt x="105508" y="41518"/>
                  </a:moveTo>
                  <a:cubicBezTo>
                    <a:pt x="89500" y="41518"/>
                    <a:pt x="80096" y="41735"/>
                    <a:pt x="77297" y="42169"/>
                  </a:cubicBezTo>
                  <a:cubicBezTo>
                    <a:pt x="75089" y="42484"/>
                    <a:pt x="73433" y="43588"/>
                    <a:pt x="72329" y="45481"/>
                  </a:cubicBezTo>
                  <a:lnTo>
                    <a:pt x="46720" y="89897"/>
                  </a:lnTo>
                  <a:cubicBezTo>
                    <a:pt x="45556" y="91944"/>
                    <a:pt x="45602" y="94445"/>
                    <a:pt x="46838" y="96403"/>
                  </a:cubicBezTo>
                  <a:lnTo>
                    <a:pt x="72624" y="136797"/>
                  </a:lnTo>
                  <a:cubicBezTo>
                    <a:pt x="73918" y="138850"/>
                    <a:pt x="76171" y="140099"/>
                    <a:pt x="78598" y="140109"/>
                  </a:cubicBezTo>
                  <a:cubicBezTo>
                    <a:pt x="84551" y="140188"/>
                    <a:pt x="93561" y="140208"/>
                    <a:pt x="105626" y="140168"/>
                  </a:cubicBezTo>
                  <a:cubicBezTo>
                    <a:pt x="117652" y="140168"/>
                    <a:pt x="126641" y="140149"/>
                    <a:pt x="132595" y="140109"/>
                  </a:cubicBezTo>
                  <a:cubicBezTo>
                    <a:pt x="135033" y="140086"/>
                    <a:pt x="137289" y="138813"/>
                    <a:pt x="138568" y="136738"/>
                  </a:cubicBezTo>
                  <a:lnTo>
                    <a:pt x="164296" y="96285"/>
                  </a:lnTo>
                  <a:cubicBezTo>
                    <a:pt x="165532" y="94326"/>
                    <a:pt x="165577" y="91826"/>
                    <a:pt x="164414" y="89779"/>
                  </a:cubicBezTo>
                  <a:lnTo>
                    <a:pt x="138746" y="45422"/>
                  </a:lnTo>
                  <a:cubicBezTo>
                    <a:pt x="137642" y="43529"/>
                    <a:pt x="135986" y="42425"/>
                    <a:pt x="133778" y="42110"/>
                  </a:cubicBezTo>
                  <a:cubicBezTo>
                    <a:pt x="130979" y="41676"/>
                    <a:pt x="121555" y="41479"/>
                    <a:pt x="105508" y="41518"/>
                  </a:cubicBezTo>
                  <a:close/>
                </a:path>
              </a:pathLst>
            </a:custGeom>
            <a:grpFill/>
            <a:ln w="59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855832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07E7BFA-DF66-0CD3-28F7-6115471A20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Incentive details</a:t>
            </a:r>
          </a:p>
        </p:txBody>
      </p:sp>
    </p:spTree>
    <p:extLst>
      <p:ext uri="{BB962C8B-B14F-4D97-AF65-F5344CB8AC3E}">
        <p14:creationId xmlns:p14="http://schemas.microsoft.com/office/powerpoint/2010/main" val="9735518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9081A5-A478-D145-2BB2-8DA6D4916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vertising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0C2CC5-6B8B-4F49-91A8-3BFFC1AB14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est and Innovate Incentive for new Autumn &amp; Winter Catalogue Incen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6ED6C1-6995-E670-A13A-3E275662EE5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A2CEDF-07DA-3439-7D0F-EE260BAD52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  <a:p>
            <a:endParaRPr lang="en-GB" dirty="0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3E5C96EB-98A9-757B-21B1-6B4C28257C4C}"/>
              </a:ext>
            </a:extLst>
          </p:cNvPr>
          <p:cNvSpPr/>
          <p:nvPr/>
        </p:nvSpPr>
        <p:spPr>
          <a:xfrm>
            <a:off x="1126724" y="2079037"/>
            <a:ext cx="2098040" cy="2098040"/>
          </a:xfrm>
          <a:prstGeom prst="donut">
            <a:avLst>
              <a:gd name="adj" fmla="val 80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CBA43C0C-E778-2EB7-4510-D4FD95BBB795}"/>
              </a:ext>
            </a:extLst>
          </p:cNvPr>
          <p:cNvSpPr/>
          <p:nvPr/>
        </p:nvSpPr>
        <p:spPr>
          <a:xfrm>
            <a:off x="3762477" y="2079037"/>
            <a:ext cx="2098040" cy="2098040"/>
          </a:xfrm>
          <a:prstGeom prst="donut">
            <a:avLst>
              <a:gd name="adj" fmla="val 78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7D6E6F22-FACC-22F9-62FC-66ADD6AF5E21}"/>
              </a:ext>
            </a:extLst>
          </p:cNvPr>
          <p:cNvSpPr/>
          <p:nvPr/>
        </p:nvSpPr>
        <p:spPr>
          <a:xfrm>
            <a:off x="6474460" y="2079037"/>
            <a:ext cx="2098040" cy="2098040"/>
          </a:xfrm>
          <a:prstGeom prst="donut">
            <a:avLst>
              <a:gd name="adj" fmla="val 880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B5F18B86-CE0A-F49E-64A2-DCB7478CC403}"/>
              </a:ext>
            </a:extLst>
          </p:cNvPr>
          <p:cNvSpPr/>
          <p:nvPr/>
        </p:nvSpPr>
        <p:spPr>
          <a:xfrm>
            <a:off x="8990722" y="2079037"/>
            <a:ext cx="2098040" cy="2098040"/>
          </a:xfrm>
          <a:prstGeom prst="donut">
            <a:avLst>
              <a:gd name="adj" fmla="val 933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2D29DB7-E512-601B-D44F-DD945F573F68}"/>
              </a:ext>
            </a:extLst>
          </p:cNvPr>
          <p:cNvSpPr/>
          <p:nvPr/>
        </p:nvSpPr>
        <p:spPr>
          <a:xfrm>
            <a:off x="-1" y="4020072"/>
            <a:ext cx="3399367" cy="1503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65A1DA8-158E-260C-896F-C5BAEBBADAD9}"/>
              </a:ext>
            </a:extLst>
          </p:cNvPr>
          <p:cNvSpPr/>
          <p:nvPr/>
        </p:nvSpPr>
        <p:spPr>
          <a:xfrm>
            <a:off x="8784166" y="4020072"/>
            <a:ext cx="3399367" cy="1503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34A9FA-2B94-4F51-D6A6-FFC88528DD98}"/>
              </a:ext>
            </a:extLst>
          </p:cNvPr>
          <p:cNvSpPr/>
          <p:nvPr/>
        </p:nvSpPr>
        <p:spPr>
          <a:xfrm>
            <a:off x="3399367" y="4020072"/>
            <a:ext cx="2696634" cy="1503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8F97C44-961B-DAF2-F03C-837B1C19D11D}"/>
              </a:ext>
            </a:extLst>
          </p:cNvPr>
          <p:cNvSpPr/>
          <p:nvPr/>
        </p:nvSpPr>
        <p:spPr>
          <a:xfrm>
            <a:off x="6096000" y="4020072"/>
            <a:ext cx="2696634" cy="1503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Graphic 14" descr="Unlock">
            <a:extLst>
              <a:ext uri="{FF2B5EF4-FFF2-40B4-BE49-F238E27FC236}">
                <a16:creationId xmlns:a16="http://schemas.microsoft.com/office/drawing/2014/main" id="{74B49A3C-3885-E4E5-CE12-6B6ABDC44BB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66280" y="2640021"/>
            <a:ext cx="914400" cy="9144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C338F08-D72A-36B4-E11A-68B299536989}"/>
              </a:ext>
            </a:extLst>
          </p:cNvPr>
          <p:cNvSpPr txBox="1"/>
          <p:nvPr/>
        </p:nvSpPr>
        <p:spPr>
          <a:xfrm>
            <a:off x="1240080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WHO IS IT FOR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F5175CC-5AD5-7C51-60E1-5508F51DCFA1}"/>
              </a:ext>
            </a:extLst>
          </p:cNvPr>
          <p:cNvSpPr txBox="1"/>
          <p:nvPr/>
        </p:nvSpPr>
        <p:spPr>
          <a:xfrm>
            <a:off x="3698519" y="4527638"/>
            <a:ext cx="2268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</a:rPr>
              <a:t>A postage credit of up to 20% is available on eligible advertising mail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58D6E93-1C02-A633-3386-831105D32ACF}"/>
              </a:ext>
            </a:extLst>
          </p:cNvPr>
          <p:cNvSpPr txBox="1"/>
          <p:nvPr/>
        </p:nvSpPr>
        <p:spPr>
          <a:xfrm>
            <a:off x="3558573" y="4232560"/>
            <a:ext cx="2547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CREDIT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DE204C-07B3-CE71-7321-AFF8C89516C4}"/>
              </a:ext>
            </a:extLst>
          </p:cNvPr>
          <p:cNvSpPr txBox="1"/>
          <p:nvPr/>
        </p:nvSpPr>
        <p:spPr>
          <a:xfrm>
            <a:off x="6413814" y="4516926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he minimum volume is 100k* Letters or 50k Catalogues. The maximum volume is 1m items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B8E51F2-028E-7A40-0285-39A1650446F4}"/>
              </a:ext>
            </a:extLst>
          </p:cNvPr>
          <p:cNvSpPr txBox="1"/>
          <p:nvPr/>
        </p:nvSpPr>
        <p:spPr>
          <a:xfrm>
            <a:off x="6583179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O QUALIFY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320E918-C534-C159-5EA1-BBA37997675E}"/>
              </a:ext>
            </a:extLst>
          </p:cNvPr>
          <p:cNvSpPr txBox="1"/>
          <p:nvPr/>
        </p:nvSpPr>
        <p:spPr>
          <a:xfrm>
            <a:off x="9093361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TO APPLY</a:t>
            </a:r>
          </a:p>
        </p:txBody>
      </p:sp>
      <p:grpSp>
        <p:nvGrpSpPr>
          <p:cNvPr id="22" name="Targ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4A37AF3-7419-BBAE-12C5-ED667B83F55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603135" y="2552807"/>
            <a:ext cx="1161193" cy="1163810"/>
            <a:chOff x="20" y="21"/>
            <a:chExt cx="444" cy="445"/>
          </a:xfrm>
          <a:solidFill>
            <a:schemeClr val="tx1"/>
          </a:solidFill>
        </p:grpSpPr>
        <p:sp>
          <p:nvSpPr>
            <p:cNvPr id="23" name="Target">
              <a:extLst>
                <a:ext uri="{FF2B5EF4-FFF2-40B4-BE49-F238E27FC236}">
                  <a16:creationId xmlns:a16="http://schemas.microsoft.com/office/drawing/2014/main" id="{B342CF42-CD52-9DFE-A9AF-B339D3A53C9F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4" y="166"/>
              <a:ext cx="159" cy="19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rget">
              <a:extLst>
                <a:ext uri="{FF2B5EF4-FFF2-40B4-BE49-F238E27FC236}">
                  <a16:creationId xmlns:a16="http://schemas.microsoft.com/office/drawing/2014/main" id="{63464129-DC4A-D92F-A544-859E9D659D3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25"/>
              <a:ext cx="159" cy="196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rget">
              <a:extLst>
                <a:ext uri="{FF2B5EF4-FFF2-40B4-BE49-F238E27FC236}">
                  <a16:creationId xmlns:a16="http://schemas.microsoft.com/office/drawing/2014/main" id="{9C1282D8-4B92-BB64-31EA-12864C9B4145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0" y="21"/>
              <a:ext cx="444" cy="445"/>
            </a:xfrm>
            <a:custGeom>
              <a:avLst/>
              <a:gdLst>
                <a:gd name="T0" fmla="*/ 1157 w 1182"/>
                <a:gd name="T1" fmla="*/ 566 h 1181"/>
                <a:gd name="T2" fmla="*/ 1088 w 1182"/>
                <a:gd name="T3" fmla="*/ 566 h 1181"/>
                <a:gd name="T4" fmla="*/ 616 w 1182"/>
                <a:gd name="T5" fmla="*/ 94 h 1181"/>
                <a:gd name="T6" fmla="*/ 616 w 1182"/>
                <a:gd name="T7" fmla="*/ 25 h 1181"/>
                <a:gd name="T8" fmla="*/ 591 w 1182"/>
                <a:gd name="T9" fmla="*/ 0 h 1181"/>
                <a:gd name="T10" fmla="*/ 566 w 1182"/>
                <a:gd name="T11" fmla="*/ 25 h 1181"/>
                <a:gd name="T12" fmla="*/ 566 w 1182"/>
                <a:gd name="T13" fmla="*/ 94 h 1181"/>
                <a:gd name="T14" fmla="*/ 94 w 1182"/>
                <a:gd name="T15" fmla="*/ 566 h 1181"/>
                <a:gd name="T16" fmla="*/ 25 w 1182"/>
                <a:gd name="T17" fmla="*/ 566 h 1181"/>
                <a:gd name="T18" fmla="*/ 0 w 1182"/>
                <a:gd name="T19" fmla="*/ 591 h 1181"/>
                <a:gd name="T20" fmla="*/ 25 w 1182"/>
                <a:gd name="T21" fmla="*/ 616 h 1181"/>
                <a:gd name="T22" fmla="*/ 94 w 1182"/>
                <a:gd name="T23" fmla="*/ 616 h 1181"/>
                <a:gd name="T24" fmla="*/ 566 w 1182"/>
                <a:gd name="T25" fmla="*/ 1088 h 1181"/>
                <a:gd name="T26" fmla="*/ 566 w 1182"/>
                <a:gd name="T27" fmla="*/ 1156 h 1181"/>
                <a:gd name="T28" fmla="*/ 591 w 1182"/>
                <a:gd name="T29" fmla="*/ 1181 h 1181"/>
                <a:gd name="T30" fmla="*/ 616 w 1182"/>
                <a:gd name="T31" fmla="*/ 1156 h 1181"/>
                <a:gd name="T32" fmla="*/ 616 w 1182"/>
                <a:gd name="T33" fmla="*/ 1088 h 1181"/>
                <a:gd name="T34" fmla="*/ 1088 w 1182"/>
                <a:gd name="T35" fmla="*/ 616 h 1181"/>
                <a:gd name="T36" fmla="*/ 1157 w 1182"/>
                <a:gd name="T37" fmla="*/ 616 h 1181"/>
                <a:gd name="T38" fmla="*/ 1182 w 1182"/>
                <a:gd name="T39" fmla="*/ 591 h 1181"/>
                <a:gd name="T40" fmla="*/ 1157 w 1182"/>
                <a:gd name="T41" fmla="*/ 566 h 1181"/>
                <a:gd name="T42" fmla="*/ 616 w 1182"/>
                <a:gd name="T43" fmla="*/ 1037 h 1181"/>
                <a:gd name="T44" fmla="*/ 616 w 1182"/>
                <a:gd name="T45" fmla="*/ 1015 h 1181"/>
                <a:gd name="T46" fmla="*/ 591 w 1182"/>
                <a:gd name="T47" fmla="*/ 990 h 1181"/>
                <a:gd name="T48" fmla="*/ 566 w 1182"/>
                <a:gd name="T49" fmla="*/ 1015 h 1181"/>
                <a:gd name="T50" fmla="*/ 566 w 1182"/>
                <a:gd name="T51" fmla="*/ 1037 h 1181"/>
                <a:gd name="T52" fmla="*/ 144 w 1182"/>
                <a:gd name="T53" fmla="*/ 616 h 1181"/>
                <a:gd name="T54" fmla="*/ 166 w 1182"/>
                <a:gd name="T55" fmla="*/ 616 h 1181"/>
                <a:gd name="T56" fmla="*/ 191 w 1182"/>
                <a:gd name="T57" fmla="*/ 591 h 1181"/>
                <a:gd name="T58" fmla="*/ 166 w 1182"/>
                <a:gd name="T59" fmla="*/ 566 h 1181"/>
                <a:gd name="T60" fmla="*/ 144 w 1182"/>
                <a:gd name="T61" fmla="*/ 566 h 1181"/>
                <a:gd name="T62" fmla="*/ 566 w 1182"/>
                <a:gd name="T63" fmla="*/ 144 h 1181"/>
                <a:gd name="T64" fmla="*/ 566 w 1182"/>
                <a:gd name="T65" fmla="*/ 166 h 1181"/>
                <a:gd name="T66" fmla="*/ 591 w 1182"/>
                <a:gd name="T67" fmla="*/ 191 h 1181"/>
                <a:gd name="T68" fmla="*/ 616 w 1182"/>
                <a:gd name="T69" fmla="*/ 166 h 1181"/>
                <a:gd name="T70" fmla="*/ 616 w 1182"/>
                <a:gd name="T71" fmla="*/ 144 h 1181"/>
                <a:gd name="T72" fmla="*/ 1038 w 1182"/>
                <a:gd name="T73" fmla="*/ 566 h 1181"/>
                <a:gd name="T74" fmla="*/ 1016 w 1182"/>
                <a:gd name="T75" fmla="*/ 566 h 1181"/>
                <a:gd name="T76" fmla="*/ 991 w 1182"/>
                <a:gd name="T77" fmla="*/ 591 h 1181"/>
                <a:gd name="T78" fmla="*/ 1016 w 1182"/>
                <a:gd name="T79" fmla="*/ 616 h 1181"/>
                <a:gd name="T80" fmla="*/ 1038 w 1182"/>
                <a:gd name="T81" fmla="*/ 616 h 1181"/>
                <a:gd name="T82" fmla="*/ 616 w 1182"/>
                <a:gd name="T83" fmla="*/ 1037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82" h="1181">
                  <a:moveTo>
                    <a:pt x="1157" y="566"/>
                  </a:moveTo>
                  <a:lnTo>
                    <a:pt x="1088" y="566"/>
                  </a:lnTo>
                  <a:cubicBezTo>
                    <a:pt x="1075" y="311"/>
                    <a:pt x="870" y="106"/>
                    <a:pt x="616" y="94"/>
                  </a:cubicBezTo>
                  <a:lnTo>
                    <a:pt x="616" y="25"/>
                  </a:lnTo>
                  <a:cubicBezTo>
                    <a:pt x="616" y="11"/>
                    <a:pt x="605" y="0"/>
                    <a:pt x="591" y="0"/>
                  </a:cubicBezTo>
                  <a:cubicBezTo>
                    <a:pt x="577" y="0"/>
                    <a:pt x="566" y="11"/>
                    <a:pt x="566" y="25"/>
                  </a:cubicBezTo>
                  <a:lnTo>
                    <a:pt x="566" y="94"/>
                  </a:lnTo>
                  <a:cubicBezTo>
                    <a:pt x="311" y="106"/>
                    <a:pt x="107" y="311"/>
                    <a:pt x="94" y="566"/>
                  </a:cubicBezTo>
                  <a:lnTo>
                    <a:pt x="25" y="566"/>
                  </a:lnTo>
                  <a:cubicBezTo>
                    <a:pt x="11" y="566"/>
                    <a:pt x="0" y="577"/>
                    <a:pt x="0" y="591"/>
                  </a:cubicBezTo>
                  <a:cubicBezTo>
                    <a:pt x="0" y="604"/>
                    <a:pt x="11" y="616"/>
                    <a:pt x="25" y="616"/>
                  </a:cubicBezTo>
                  <a:lnTo>
                    <a:pt x="94" y="616"/>
                  </a:lnTo>
                  <a:cubicBezTo>
                    <a:pt x="107" y="870"/>
                    <a:pt x="311" y="1075"/>
                    <a:pt x="566" y="1088"/>
                  </a:cubicBezTo>
                  <a:lnTo>
                    <a:pt x="566" y="1156"/>
                  </a:lnTo>
                  <a:cubicBezTo>
                    <a:pt x="566" y="1170"/>
                    <a:pt x="577" y="1181"/>
                    <a:pt x="591" y="1181"/>
                  </a:cubicBezTo>
                  <a:cubicBezTo>
                    <a:pt x="605" y="1181"/>
                    <a:pt x="616" y="1170"/>
                    <a:pt x="616" y="1156"/>
                  </a:cubicBezTo>
                  <a:lnTo>
                    <a:pt x="616" y="1088"/>
                  </a:lnTo>
                  <a:cubicBezTo>
                    <a:pt x="870" y="1075"/>
                    <a:pt x="1075" y="870"/>
                    <a:pt x="1088" y="616"/>
                  </a:cubicBezTo>
                  <a:lnTo>
                    <a:pt x="1157" y="616"/>
                  </a:lnTo>
                  <a:cubicBezTo>
                    <a:pt x="1170" y="616"/>
                    <a:pt x="1182" y="604"/>
                    <a:pt x="1182" y="591"/>
                  </a:cubicBezTo>
                  <a:cubicBezTo>
                    <a:pt x="1182" y="577"/>
                    <a:pt x="1170" y="566"/>
                    <a:pt x="1157" y="566"/>
                  </a:cubicBezTo>
                  <a:close/>
                  <a:moveTo>
                    <a:pt x="616" y="1037"/>
                  </a:moveTo>
                  <a:lnTo>
                    <a:pt x="616" y="1015"/>
                  </a:lnTo>
                  <a:cubicBezTo>
                    <a:pt x="616" y="1002"/>
                    <a:pt x="605" y="990"/>
                    <a:pt x="591" y="990"/>
                  </a:cubicBezTo>
                  <a:cubicBezTo>
                    <a:pt x="577" y="990"/>
                    <a:pt x="566" y="1002"/>
                    <a:pt x="566" y="1015"/>
                  </a:cubicBezTo>
                  <a:lnTo>
                    <a:pt x="566" y="1037"/>
                  </a:lnTo>
                  <a:cubicBezTo>
                    <a:pt x="339" y="1025"/>
                    <a:pt x="157" y="843"/>
                    <a:pt x="144" y="616"/>
                  </a:cubicBezTo>
                  <a:lnTo>
                    <a:pt x="166" y="616"/>
                  </a:lnTo>
                  <a:cubicBezTo>
                    <a:pt x="180" y="616"/>
                    <a:pt x="191" y="604"/>
                    <a:pt x="191" y="591"/>
                  </a:cubicBezTo>
                  <a:cubicBezTo>
                    <a:pt x="191" y="577"/>
                    <a:pt x="180" y="566"/>
                    <a:pt x="166" y="566"/>
                  </a:cubicBezTo>
                  <a:lnTo>
                    <a:pt x="144" y="566"/>
                  </a:lnTo>
                  <a:cubicBezTo>
                    <a:pt x="157" y="339"/>
                    <a:pt x="339" y="156"/>
                    <a:pt x="566" y="144"/>
                  </a:cubicBezTo>
                  <a:lnTo>
                    <a:pt x="566" y="166"/>
                  </a:lnTo>
                  <a:cubicBezTo>
                    <a:pt x="566" y="180"/>
                    <a:pt x="577" y="191"/>
                    <a:pt x="591" y="191"/>
                  </a:cubicBezTo>
                  <a:cubicBezTo>
                    <a:pt x="605" y="191"/>
                    <a:pt x="616" y="180"/>
                    <a:pt x="616" y="166"/>
                  </a:cubicBezTo>
                  <a:lnTo>
                    <a:pt x="616" y="144"/>
                  </a:lnTo>
                  <a:cubicBezTo>
                    <a:pt x="843" y="156"/>
                    <a:pt x="1025" y="339"/>
                    <a:pt x="1038" y="566"/>
                  </a:cubicBezTo>
                  <a:lnTo>
                    <a:pt x="1016" y="566"/>
                  </a:lnTo>
                  <a:cubicBezTo>
                    <a:pt x="1002" y="566"/>
                    <a:pt x="991" y="577"/>
                    <a:pt x="991" y="591"/>
                  </a:cubicBezTo>
                  <a:cubicBezTo>
                    <a:pt x="991" y="604"/>
                    <a:pt x="1002" y="616"/>
                    <a:pt x="1016" y="616"/>
                  </a:cubicBezTo>
                  <a:lnTo>
                    <a:pt x="1038" y="616"/>
                  </a:lnTo>
                  <a:cubicBezTo>
                    <a:pt x="1025" y="843"/>
                    <a:pt x="843" y="1025"/>
                    <a:pt x="616" y="10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C958014-3819-6748-3F58-12B30173D3A8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285635" y="2645605"/>
            <a:ext cx="966138" cy="961826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B27E6E0-96F8-3CCE-7B11-0182865277E2}"/>
              </a:ext>
            </a:extLst>
          </p:cNvPr>
          <p:cNvSpPr txBox="1"/>
          <p:nvPr/>
        </p:nvSpPr>
        <p:spPr>
          <a:xfrm>
            <a:off x="4498570" y="2871091"/>
            <a:ext cx="6319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bg1"/>
                </a:solidFill>
              </a:rPr>
              <a:t>20%</a:t>
            </a:r>
          </a:p>
        </p:txBody>
      </p:sp>
      <p:grpSp>
        <p:nvGrpSpPr>
          <p:cNvPr id="28" name="Applic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2028893-95EB-AB6D-21D6-9C0EF3337CE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696662" y="2731821"/>
            <a:ext cx="701646" cy="874387"/>
            <a:chOff x="46" y="2"/>
            <a:chExt cx="394" cy="491"/>
          </a:xfrm>
          <a:solidFill>
            <a:schemeClr val="tx1"/>
          </a:solidFill>
        </p:grpSpPr>
        <p:sp>
          <p:nvSpPr>
            <p:cNvPr id="29" name="Application">
              <a:extLst>
                <a:ext uri="{FF2B5EF4-FFF2-40B4-BE49-F238E27FC236}">
                  <a16:creationId xmlns:a16="http://schemas.microsoft.com/office/drawing/2014/main" id="{564877B2-CE9D-A176-1C94-43DF2D16661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33" y="309"/>
              <a:ext cx="55" cy="64"/>
            </a:xfrm>
            <a:custGeom>
              <a:avLst/>
              <a:gdLst>
                <a:gd name="T0" fmla="*/ 147 w 147"/>
                <a:gd name="T1" fmla="*/ 144 h 171"/>
                <a:gd name="T2" fmla="*/ 123 w 147"/>
                <a:gd name="T3" fmla="*/ 0 h 171"/>
                <a:gd name="T4" fmla="*/ 0 w 147"/>
                <a:gd name="T5" fmla="*/ 38 h 171"/>
                <a:gd name="T6" fmla="*/ 60 w 147"/>
                <a:gd name="T7" fmla="*/ 171 h 171"/>
                <a:gd name="T8" fmla="*/ 147 w 147"/>
                <a:gd name="T9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71">
                  <a:moveTo>
                    <a:pt x="147" y="144"/>
                  </a:moveTo>
                  <a:lnTo>
                    <a:pt x="123" y="0"/>
                  </a:lnTo>
                  <a:lnTo>
                    <a:pt x="0" y="38"/>
                  </a:lnTo>
                  <a:lnTo>
                    <a:pt x="60" y="171"/>
                  </a:lnTo>
                  <a:lnTo>
                    <a:pt x="147" y="1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Application">
              <a:extLst>
                <a:ext uri="{FF2B5EF4-FFF2-40B4-BE49-F238E27FC236}">
                  <a16:creationId xmlns:a16="http://schemas.microsoft.com/office/drawing/2014/main" id="{4C05AF14-C371-68BF-7D3D-85C5D460D89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45" y="369"/>
              <a:ext cx="69" cy="124"/>
            </a:xfrm>
            <a:custGeom>
              <a:avLst/>
              <a:gdLst>
                <a:gd name="T0" fmla="*/ 169 w 184"/>
                <a:gd name="T1" fmla="*/ 99 h 329"/>
                <a:gd name="T2" fmla="*/ 116 w 184"/>
                <a:gd name="T3" fmla="*/ 0 h 329"/>
                <a:gd name="T4" fmla="*/ 29 w 184"/>
                <a:gd name="T5" fmla="*/ 27 h 329"/>
                <a:gd name="T6" fmla="*/ 20 w 184"/>
                <a:gd name="T7" fmla="*/ 144 h 329"/>
                <a:gd name="T8" fmla="*/ 139 w 184"/>
                <a:gd name="T9" fmla="*/ 275 h 329"/>
                <a:gd name="T10" fmla="*/ 169 w 184"/>
                <a:gd name="T11" fmla="*/ 9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329">
                  <a:moveTo>
                    <a:pt x="169" y="99"/>
                  </a:moveTo>
                  <a:cubicBezTo>
                    <a:pt x="158" y="60"/>
                    <a:pt x="127" y="15"/>
                    <a:pt x="116" y="0"/>
                  </a:cubicBezTo>
                  <a:lnTo>
                    <a:pt x="29" y="27"/>
                  </a:lnTo>
                  <a:cubicBezTo>
                    <a:pt x="20" y="45"/>
                    <a:pt x="0" y="92"/>
                    <a:pt x="20" y="144"/>
                  </a:cubicBezTo>
                  <a:cubicBezTo>
                    <a:pt x="40" y="198"/>
                    <a:pt x="144" y="329"/>
                    <a:pt x="139" y="275"/>
                  </a:cubicBezTo>
                  <a:cubicBezTo>
                    <a:pt x="129" y="167"/>
                    <a:pt x="184" y="146"/>
                    <a:pt x="169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Application">
              <a:extLst>
                <a:ext uri="{FF2B5EF4-FFF2-40B4-BE49-F238E27FC236}">
                  <a16:creationId xmlns:a16="http://schemas.microsoft.com/office/drawing/2014/main" id="{94549084-3922-FDE0-25CD-86558B9CE1B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6" y="2"/>
              <a:ext cx="394" cy="447"/>
            </a:xfrm>
            <a:custGeom>
              <a:avLst/>
              <a:gdLst>
                <a:gd name="T0" fmla="*/ 575 w 1050"/>
                <a:gd name="T1" fmla="*/ 18 h 1187"/>
                <a:gd name="T2" fmla="*/ 401 w 1050"/>
                <a:gd name="T3" fmla="*/ 578 h 1187"/>
                <a:gd name="T4" fmla="*/ 359 w 1050"/>
                <a:gd name="T5" fmla="*/ 346 h 1187"/>
                <a:gd name="T6" fmla="*/ 0 w 1050"/>
                <a:gd name="T7" fmla="*/ 578 h 1187"/>
                <a:gd name="T8" fmla="*/ 75 w 1050"/>
                <a:gd name="T9" fmla="*/ 728 h 1187"/>
                <a:gd name="T10" fmla="*/ 88 w 1050"/>
                <a:gd name="T11" fmla="*/ 678 h 1187"/>
                <a:gd name="T12" fmla="*/ 163 w 1050"/>
                <a:gd name="T13" fmla="*/ 728 h 1187"/>
                <a:gd name="T14" fmla="*/ 175 w 1050"/>
                <a:gd name="T15" fmla="*/ 678 h 1187"/>
                <a:gd name="T16" fmla="*/ 195 w 1050"/>
                <a:gd name="T17" fmla="*/ 728 h 1187"/>
                <a:gd name="T18" fmla="*/ 29 w 1050"/>
                <a:gd name="T19" fmla="*/ 1120 h 1187"/>
                <a:gd name="T20" fmla="*/ 57 w 1050"/>
                <a:gd name="T21" fmla="*/ 1133 h 1187"/>
                <a:gd name="T22" fmla="*/ 58 w 1050"/>
                <a:gd name="T23" fmla="*/ 1132 h 1187"/>
                <a:gd name="T24" fmla="*/ 70 w 1050"/>
                <a:gd name="T25" fmla="*/ 1159 h 1187"/>
                <a:gd name="T26" fmla="*/ 105 w 1050"/>
                <a:gd name="T27" fmla="*/ 1174 h 1187"/>
                <a:gd name="T28" fmla="*/ 129 w 1050"/>
                <a:gd name="T29" fmla="*/ 1162 h 1187"/>
                <a:gd name="T30" fmla="*/ 128 w 1050"/>
                <a:gd name="T31" fmla="*/ 1163 h 1187"/>
                <a:gd name="T32" fmla="*/ 148 w 1050"/>
                <a:gd name="T33" fmla="*/ 1171 h 1187"/>
                <a:gd name="T34" fmla="*/ 148 w 1050"/>
                <a:gd name="T35" fmla="*/ 1169 h 1187"/>
                <a:gd name="T36" fmla="*/ 363 w 1050"/>
                <a:gd name="T37" fmla="*/ 728 h 1187"/>
                <a:gd name="T38" fmla="*/ 375 w 1050"/>
                <a:gd name="T39" fmla="*/ 678 h 1187"/>
                <a:gd name="T40" fmla="*/ 463 w 1050"/>
                <a:gd name="T41" fmla="*/ 728 h 1187"/>
                <a:gd name="T42" fmla="*/ 475 w 1050"/>
                <a:gd name="T43" fmla="*/ 678 h 1187"/>
                <a:gd name="T44" fmla="*/ 563 w 1050"/>
                <a:gd name="T45" fmla="*/ 728 h 1187"/>
                <a:gd name="T46" fmla="*/ 575 w 1050"/>
                <a:gd name="T47" fmla="*/ 678 h 1187"/>
                <a:gd name="T48" fmla="*/ 663 w 1050"/>
                <a:gd name="T49" fmla="*/ 728 h 1187"/>
                <a:gd name="T50" fmla="*/ 675 w 1050"/>
                <a:gd name="T51" fmla="*/ 678 h 1187"/>
                <a:gd name="T52" fmla="*/ 727 w 1050"/>
                <a:gd name="T53" fmla="*/ 728 h 1187"/>
                <a:gd name="T54" fmla="*/ 877 w 1050"/>
                <a:gd name="T55" fmla="*/ 798 h 1187"/>
                <a:gd name="T56" fmla="*/ 875 w 1050"/>
                <a:gd name="T57" fmla="*/ 728 h 1187"/>
                <a:gd name="T58" fmla="*/ 888 w 1050"/>
                <a:gd name="T59" fmla="*/ 678 h 1187"/>
                <a:gd name="T60" fmla="*/ 975 w 1050"/>
                <a:gd name="T61" fmla="*/ 728 h 1187"/>
                <a:gd name="T62" fmla="*/ 988 w 1050"/>
                <a:gd name="T63" fmla="*/ 678 h 1187"/>
                <a:gd name="T64" fmla="*/ 1050 w 1050"/>
                <a:gd name="T65" fmla="*/ 728 h 1187"/>
                <a:gd name="T66" fmla="*/ 815 w 1050"/>
                <a:gd name="T67" fmla="*/ 578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0" h="1187">
                  <a:moveTo>
                    <a:pt x="815" y="578"/>
                  </a:moveTo>
                  <a:cubicBezTo>
                    <a:pt x="746" y="340"/>
                    <a:pt x="636" y="0"/>
                    <a:pt x="575" y="18"/>
                  </a:cubicBezTo>
                  <a:cubicBezTo>
                    <a:pt x="518" y="36"/>
                    <a:pt x="603" y="340"/>
                    <a:pt x="677" y="578"/>
                  </a:cubicBezTo>
                  <a:lnTo>
                    <a:pt x="401" y="578"/>
                  </a:lnTo>
                  <a:lnTo>
                    <a:pt x="478" y="396"/>
                  </a:lnTo>
                  <a:lnTo>
                    <a:pt x="359" y="346"/>
                  </a:lnTo>
                  <a:lnTo>
                    <a:pt x="261" y="578"/>
                  </a:lnTo>
                  <a:lnTo>
                    <a:pt x="0" y="578"/>
                  </a:lnTo>
                  <a:lnTo>
                    <a:pt x="0" y="728"/>
                  </a:lnTo>
                  <a:lnTo>
                    <a:pt x="75" y="728"/>
                  </a:lnTo>
                  <a:lnTo>
                    <a:pt x="75" y="678"/>
                  </a:lnTo>
                  <a:lnTo>
                    <a:pt x="88" y="678"/>
                  </a:lnTo>
                  <a:lnTo>
                    <a:pt x="88" y="728"/>
                  </a:lnTo>
                  <a:lnTo>
                    <a:pt x="163" y="728"/>
                  </a:lnTo>
                  <a:lnTo>
                    <a:pt x="163" y="678"/>
                  </a:lnTo>
                  <a:lnTo>
                    <a:pt x="175" y="678"/>
                  </a:lnTo>
                  <a:lnTo>
                    <a:pt x="175" y="728"/>
                  </a:lnTo>
                  <a:lnTo>
                    <a:pt x="195" y="728"/>
                  </a:lnTo>
                  <a:lnTo>
                    <a:pt x="30" y="1118"/>
                  </a:lnTo>
                  <a:cubicBezTo>
                    <a:pt x="30" y="1119"/>
                    <a:pt x="29" y="1120"/>
                    <a:pt x="29" y="1120"/>
                  </a:cubicBezTo>
                  <a:cubicBezTo>
                    <a:pt x="25" y="1130"/>
                    <a:pt x="28" y="1141"/>
                    <a:pt x="36" y="1144"/>
                  </a:cubicBezTo>
                  <a:cubicBezTo>
                    <a:pt x="43" y="1148"/>
                    <a:pt x="53" y="1143"/>
                    <a:pt x="57" y="1133"/>
                  </a:cubicBezTo>
                  <a:cubicBezTo>
                    <a:pt x="58" y="1132"/>
                    <a:pt x="58" y="1132"/>
                    <a:pt x="58" y="1132"/>
                  </a:cubicBezTo>
                  <a:lnTo>
                    <a:pt x="58" y="1132"/>
                  </a:lnTo>
                  <a:cubicBezTo>
                    <a:pt x="58" y="1132"/>
                    <a:pt x="58" y="1132"/>
                    <a:pt x="57" y="1133"/>
                  </a:cubicBezTo>
                  <a:cubicBezTo>
                    <a:pt x="53" y="1143"/>
                    <a:pt x="59" y="1154"/>
                    <a:pt x="70" y="1159"/>
                  </a:cubicBezTo>
                  <a:cubicBezTo>
                    <a:pt x="79" y="1163"/>
                    <a:pt x="89" y="1161"/>
                    <a:pt x="95" y="1155"/>
                  </a:cubicBezTo>
                  <a:cubicBezTo>
                    <a:pt x="94" y="1163"/>
                    <a:pt x="98" y="1171"/>
                    <a:pt x="105" y="1174"/>
                  </a:cubicBezTo>
                  <a:cubicBezTo>
                    <a:pt x="114" y="1178"/>
                    <a:pt x="124" y="1173"/>
                    <a:pt x="128" y="1163"/>
                  </a:cubicBezTo>
                  <a:cubicBezTo>
                    <a:pt x="129" y="1163"/>
                    <a:pt x="129" y="1162"/>
                    <a:pt x="129" y="1162"/>
                  </a:cubicBezTo>
                  <a:lnTo>
                    <a:pt x="129" y="1162"/>
                  </a:lnTo>
                  <a:cubicBezTo>
                    <a:pt x="129" y="1162"/>
                    <a:pt x="129" y="1163"/>
                    <a:pt x="128" y="1163"/>
                  </a:cubicBezTo>
                  <a:cubicBezTo>
                    <a:pt x="124" y="1173"/>
                    <a:pt x="125" y="1183"/>
                    <a:pt x="131" y="1185"/>
                  </a:cubicBezTo>
                  <a:cubicBezTo>
                    <a:pt x="136" y="1187"/>
                    <a:pt x="144" y="1181"/>
                    <a:pt x="148" y="1171"/>
                  </a:cubicBezTo>
                  <a:cubicBezTo>
                    <a:pt x="148" y="1171"/>
                    <a:pt x="148" y="1171"/>
                    <a:pt x="148" y="1170"/>
                  </a:cubicBezTo>
                  <a:lnTo>
                    <a:pt x="148" y="1169"/>
                  </a:lnTo>
                  <a:lnTo>
                    <a:pt x="336" y="728"/>
                  </a:lnTo>
                  <a:lnTo>
                    <a:pt x="363" y="728"/>
                  </a:lnTo>
                  <a:lnTo>
                    <a:pt x="363" y="678"/>
                  </a:lnTo>
                  <a:lnTo>
                    <a:pt x="375" y="678"/>
                  </a:lnTo>
                  <a:lnTo>
                    <a:pt x="375" y="728"/>
                  </a:lnTo>
                  <a:lnTo>
                    <a:pt x="463" y="728"/>
                  </a:lnTo>
                  <a:lnTo>
                    <a:pt x="463" y="678"/>
                  </a:lnTo>
                  <a:lnTo>
                    <a:pt x="475" y="678"/>
                  </a:lnTo>
                  <a:lnTo>
                    <a:pt x="475" y="728"/>
                  </a:lnTo>
                  <a:lnTo>
                    <a:pt x="563" y="728"/>
                  </a:lnTo>
                  <a:lnTo>
                    <a:pt x="563" y="678"/>
                  </a:lnTo>
                  <a:lnTo>
                    <a:pt x="575" y="678"/>
                  </a:lnTo>
                  <a:lnTo>
                    <a:pt x="575" y="728"/>
                  </a:lnTo>
                  <a:lnTo>
                    <a:pt x="663" y="728"/>
                  </a:lnTo>
                  <a:lnTo>
                    <a:pt x="663" y="678"/>
                  </a:lnTo>
                  <a:lnTo>
                    <a:pt x="675" y="678"/>
                  </a:lnTo>
                  <a:lnTo>
                    <a:pt x="675" y="728"/>
                  </a:lnTo>
                  <a:lnTo>
                    <a:pt x="727" y="728"/>
                  </a:lnTo>
                  <a:cubicBezTo>
                    <a:pt x="746" y="790"/>
                    <a:pt x="760" y="824"/>
                    <a:pt x="763" y="833"/>
                  </a:cubicBezTo>
                  <a:lnTo>
                    <a:pt x="877" y="798"/>
                  </a:lnTo>
                  <a:cubicBezTo>
                    <a:pt x="875" y="791"/>
                    <a:pt x="868" y="765"/>
                    <a:pt x="858" y="728"/>
                  </a:cubicBezTo>
                  <a:lnTo>
                    <a:pt x="875" y="728"/>
                  </a:lnTo>
                  <a:lnTo>
                    <a:pt x="875" y="678"/>
                  </a:lnTo>
                  <a:lnTo>
                    <a:pt x="888" y="678"/>
                  </a:lnTo>
                  <a:lnTo>
                    <a:pt x="888" y="728"/>
                  </a:lnTo>
                  <a:lnTo>
                    <a:pt x="975" y="728"/>
                  </a:lnTo>
                  <a:lnTo>
                    <a:pt x="975" y="678"/>
                  </a:lnTo>
                  <a:lnTo>
                    <a:pt x="988" y="678"/>
                  </a:lnTo>
                  <a:lnTo>
                    <a:pt x="988" y="728"/>
                  </a:lnTo>
                  <a:lnTo>
                    <a:pt x="1050" y="728"/>
                  </a:lnTo>
                  <a:lnTo>
                    <a:pt x="1050" y="578"/>
                  </a:lnTo>
                  <a:lnTo>
                    <a:pt x="815" y="5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Application">
              <a:extLst>
                <a:ext uri="{FF2B5EF4-FFF2-40B4-BE49-F238E27FC236}">
                  <a16:creationId xmlns:a16="http://schemas.microsoft.com/office/drawing/2014/main" id="{AB48D44C-C6FC-17CB-91B3-8B1E88255DEE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8" y="58"/>
              <a:ext cx="57" cy="51"/>
            </a:xfrm>
            <a:custGeom>
              <a:avLst/>
              <a:gdLst>
                <a:gd name="T0" fmla="*/ 143 w 151"/>
                <a:gd name="T1" fmla="*/ 79 h 134"/>
                <a:gd name="T2" fmla="*/ 122 w 151"/>
                <a:gd name="T3" fmla="*/ 29 h 134"/>
                <a:gd name="T4" fmla="*/ 74 w 151"/>
                <a:gd name="T5" fmla="*/ 8 h 134"/>
                <a:gd name="T6" fmla="*/ 24 w 151"/>
                <a:gd name="T7" fmla="*/ 29 h 134"/>
                <a:gd name="T8" fmla="*/ 0 w 151"/>
                <a:gd name="T9" fmla="*/ 84 h 134"/>
                <a:gd name="T10" fmla="*/ 119 w 151"/>
                <a:gd name="T11" fmla="*/ 134 h 134"/>
                <a:gd name="T12" fmla="*/ 143 w 151"/>
                <a:gd name="T13" fmla="*/ 7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34">
                  <a:moveTo>
                    <a:pt x="143" y="79"/>
                  </a:moveTo>
                  <a:cubicBezTo>
                    <a:pt x="151" y="60"/>
                    <a:pt x="142" y="37"/>
                    <a:pt x="122" y="29"/>
                  </a:cubicBezTo>
                  <a:lnTo>
                    <a:pt x="74" y="8"/>
                  </a:lnTo>
                  <a:cubicBezTo>
                    <a:pt x="55" y="0"/>
                    <a:pt x="32" y="9"/>
                    <a:pt x="24" y="29"/>
                  </a:cubicBezTo>
                  <a:lnTo>
                    <a:pt x="0" y="84"/>
                  </a:lnTo>
                  <a:lnTo>
                    <a:pt x="119" y="134"/>
                  </a:lnTo>
                  <a:lnTo>
                    <a:pt x="143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Application">
              <a:extLst>
                <a:ext uri="{FF2B5EF4-FFF2-40B4-BE49-F238E27FC236}">
                  <a16:creationId xmlns:a16="http://schemas.microsoft.com/office/drawing/2014/main" id="{E471135B-4D66-4B53-0F71-1961FDA7921B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3" y="97"/>
              <a:ext cx="57" cy="47"/>
            </a:xfrm>
            <a:custGeom>
              <a:avLst/>
              <a:gdLst>
                <a:gd name="T0" fmla="*/ 31 w 150"/>
                <a:gd name="T1" fmla="*/ 0 h 124"/>
                <a:gd name="T2" fmla="*/ 150 w 150"/>
                <a:gd name="T3" fmla="*/ 51 h 124"/>
                <a:gd name="T4" fmla="*/ 119 w 150"/>
                <a:gd name="T5" fmla="*/ 124 h 124"/>
                <a:gd name="T6" fmla="*/ 0 w 150"/>
                <a:gd name="T7" fmla="*/ 73 h 124"/>
                <a:gd name="T8" fmla="*/ 31 w 15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24">
                  <a:moveTo>
                    <a:pt x="31" y="0"/>
                  </a:moveTo>
                  <a:lnTo>
                    <a:pt x="150" y="51"/>
                  </a:lnTo>
                  <a:lnTo>
                    <a:pt x="119" y="124"/>
                  </a:lnTo>
                  <a:lnTo>
                    <a:pt x="0" y="7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Application">
              <a:extLst>
                <a:ext uri="{FF2B5EF4-FFF2-40B4-BE49-F238E27FC236}">
                  <a16:creationId xmlns:a16="http://schemas.microsoft.com/office/drawing/2014/main" id="{2BAAB7BD-FE77-897F-DCE7-0B227B299311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7" y="456"/>
              <a:ext cx="20" cy="23"/>
            </a:xfrm>
            <a:custGeom>
              <a:avLst/>
              <a:gdLst>
                <a:gd name="T0" fmla="*/ 5 w 52"/>
                <a:gd name="T1" fmla="*/ 61 h 61"/>
                <a:gd name="T2" fmla="*/ 52 w 52"/>
                <a:gd name="T3" fmla="*/ 22 h 61"/>
                <a:gd name="T4" fmla="*/ 0 w 52"/>
                <a:gd name="T5" fmla="*/ 0 h 61"/>
                <a:gd name="T6" fmla="*/ 5 w 52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1">
                  <a:moveTo>
                    <a:pt x="5" y="61"/>
                  </a:moveTo>
                  <a:lnTo>
                    <a:pt x="52" y="22"/>
                  </a:lnTo>
                  <a:lnTo>
                    <a:pt x="0" y="0"/>
                  </a:lnTo>
                  <a:lnTo>
                    <a:pt x="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490500C-3FB3-2B18-DE44-3B2E4833738B}"/>
              </a:ext>
            </a:extLst>
          </p:cNvPr>
          <p:cNvSpPr txBox="1"/>
          <p:nvPr/>
        </p:nvSpPr>
        <p:spPr>
          <a:xfrm>
            <a:off x="1059140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For when you try new Autumn &amp; Winter Catalogue advertising mail activity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  <a:p>
            <a:pPr lvl="0" algn="ctr">
              <a:defRPr/>
            </a:pP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C1D7A50-F8FC-6E37-3490-B42DD97E80E5}"/>
              </a:ext>
            </a:extLst>
          </p:cNvPr>
          <p:cNvSpPr txBox="1"/>
          <p:nvPr/>
        </p:nvSpPr>
        <p:spPr>
          <a:xfrm>
            <a:off x="8923996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 more information and  to apply go to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16"/>
              </a:rPr>
              <a:t>www.royalmailwholesale.com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D744BFF-6CCA-3982-EC18-D73B15ED6409}"/>
              </a:ext>
            </a:extLst>
          </p:cNvPr>
          <p:cNvSpPr txBox="1">
            <a:spLocks/>
          </p:cNvSpPr>
          <p:nvPr/>
        </p:nvSpPr>
        <p:spPr>
          <a:xfrm>
            <a:off x="800948" y="6559642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* 50K Letters for the Charity Sector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52319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4CA3A3-5C83-A276-687C-3446CB1E8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ry requir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CA8792-4614-7E79-A6F5-6BA3654B1E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648A7B-9BBF-0BF6-7132-3D23F3B2DC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sp>
        <p:nvSpPr>
          <p:cNvPr id="7" name="Arrow1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FB4530B-68E8-C2AE-D50E-0343E9924E8D}"/>
              </a:ext>
            </a:extLst>
          </p:cNvPr>
          <p:cNvSpPr>
            <a:spLocks noChangeAspect="1"/>
          </p:cNvSpPr>
          <p:nvPr/>
        </p:nvSpPr>
        <p:spPr>
          <a:xfrm>
            <a:off x="94287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Arrow14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0E328CB-A4DC-90AA-2352-AB3527785FFB}"/>
              </a:ext>
            </a:extLst>
          </p:cNvPr>
          <p:cNvSpPr>
            <a:spLocks noChangeAspect="1"/>
          </p:cNvSpPr>
          <p:nvPr/>
        </p:nvSpPr>
        <p:spPr>
          <a:xfrm>
            <a:off x="3583158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rrow14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EADC515-6C60-987A-EEDB-EB9778386D13}"/>
              </a:ext>
            </a:extLst>
          </p:cNvPr>
          <p:cNvSpPr>
            <a:spLocks noChangeAspect="1"/>
          </p:cNvSpPr>
          <p:nvPr/>
        </p:nvSpPr>
        <p:spPr>
          <a:xfrm>
            <a:off x="6223445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Arrow14 - 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2AD8A90-5D94-2580-D33D-3D79F0C87D87}"/>
              </a:ext>
            </a:extLst>
          </p:cNvPr>
          <p:cNvSpPr>
            <a:spLocks noChangeAspect="1"/>
          </p:cNvSpPr>
          <p:nvPr/>
        </p:nvSpPr>
        <p:spPr>
          <a:xfrm>
            <a:off x="886373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1486BE-A84E-47EE-C44B-62FBE0372093}"/>
              </a:ext>
            </a:extLst>
          </p:cNvPr>
          <p:cNvSpPr txBox="1"/>
          <p:nvPr/>
        </p:nvSpPr>
        <p:spPr>
          <a:xfrm>
            <a:off x="807776" y="4691882"/>
            <a:ext cx="266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dirty="0"/>
              <a:t>Test addressed Letter items sent using advertising mail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4B92E-2817-3233-EA2E-BF3FA17B8182}"/>
              </a:ext>
            </a:extLst>
          </p:cNvPr>
          <p:cNvSpPr txBox="1"/>
          <p:nvPr/>
        </p:nvSpPr>
        <p:spPr>
          <a:xfrm>
            <a:off x="3445259" y="4691882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Measure the performance of the test and share the results with us so we can understand whether the tests we invest in achieve their objective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644C48-1387-6445-357E-A01212608107}"/>
              </a:ext>
            </a:extLst>
          </p:cNvPr>
          <p:cNvSpPr txBox="1"/>
          <p:nvPr/>
        </p:nvSpPr>
        <p:spPr>
          <a:xfrm>
            <a:off x="6082742" y="4691882"/>
            <a:ext cx="266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sz="1600" dirty="0"/>
              <a:t>The minimum volume is 100k* Letters or 50k Catalogues. The maximum volume is </a:t>
            </a:r>
            <a:r>
              <a:rPr lang="en-GB" sz="1600"/>
              <a:t>1m items.</a:t>
            </a:r>
            <a:endParaRPr lang="en-GB" sz="16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4B4045-3270-C608-512F-50A4E816320C}"/>
              </a:ext>
            </a:extLst>
          </p:cNvPr>
          <p:cNvSpPr txBox="1"/>
          <p:nvPr/>
        </p:nvSpPr>
        <p:spPr>
          <a:xfrm>
            <a:off x="8720224" y="4691882"/>
            <a:ext cx="266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Submit your application form 10 days before the start date of your test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1D75804-09E5-0C27-5D9B-0FF39C51A5CF}"/>
              </a:ext>
            </a:extLst>
          </p:cNvPr>
          <p:cNvSpPr txBox="1"/>
          <p:nvPr/>
        </p:nvSpPr>
        <p:spPr>
          <a:xfrm>
            <a:off x="240027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4B51F63-BD72-7461-CC14-82D2AB6D80D9}"/>
              </a:ext>
            </a:extLst>
          </p:cNvPr>
          <p:cNvSpPr txBox="1"/>
          <p:nvPr/>
        </p:nvSpPr>
        <p:spPr>
          <a:xfrm>
            <a:off x="5035246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6BA74A-1867-B9A2-A2DE-F98AC5CA420C}"/>
              </a:ext>
            </a:extLst>
          </p:cNvPr>
          <p:cNvSpPr txBox="1"/>
          <p:nvPr/>
        </p:nvSpPr>
        <p:spPr>
          <a:xfrm>
            <a:off x="7670219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51121CA-C790-3B83-9E78-80E454DF5961}"/>
              </a:ext>
            </a:extLst>
          </p:cNvPr>
          <p:cNvSpPr txBox="1"/>
          <p:nvPr/>
        </p:nvSpPr>
        <p:spPr>
          <a:xfrm>
            <a:off x="1030519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C2CE9292-B53B-DA03-42FE-0FBE8F6AF2A6}"/>
              </a:ext>
            </a:extLst>
          </p:cNvPr>
          <p:cNvSpPr txBox="1">
            <a:spLocks noGrp="1"/>
          </p:cNvSpPr>
          <p:nvPr>
            <p:ph type="body" sz="quarter" idx="12"/>
          </p:nvPr>
        </p:nvSpPr>
        <p:spPr>
          <a:xfrm>
            <a:off x="801688" y="6372225"/>
            <a:ext cx="5208587" cy="133350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* 50K Letters for the Charity Sector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11336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1BB2BF-1035-C8CF-F7F7-BD54F1043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ffer da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A5A09F-D4F1-1EE8-450D-495FAA9D31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5A811-CEC6-FC03-7DB5-05E868C1096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6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515413-4151-0F86-3475-F8FF74922F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66D231-43C2-2239-E4BC-BC7F0903DAA6}"/>
              </a:ext>
            </a:extLst>
          </p:cNvPr>
          <p:cNvSpPr txBox="1"/>
          <p:nvPr/>
        </p:nvSpPr>
        <p:spPr>
          <a:xfrm>
            <a:off x="4433508" y="3448855"/>
            <a:ext cx="113588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18 August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764151-B4F9-FCC4-D66F-4019BA47CB61}"/>
              </a:ext>
            </a:extLst>
          </p:cNvPr>
          <p:cNvSpPr txBox="1"/>
          <p:nvPr/>
        </p:nvSpPr>
        <p:spPr>
          <a:xfrm>
            <a:off x="4100853" y="4437606"/>
            <a:ext cx="18011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First posting d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8755B24-F4F0-702F-F31C-D2F02B79AE4D}"/>
              </a:ext>
            </a:extLst>
          </p:cNvPr>
          <p:cNvSpPr txBox="1"/>
          <p:nvPr/>
        </p:nvSpPr>
        <p:spPr>
          <a:xfrm>
            <a:off x="6585847" y="3448855"/>
            <a:ext cx="12452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03 October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86B7CB-129E-E77B-5DAF-75686DD9DE0C}"/>
              </a:ext>
            </a:extLst>
          </p:cNvPr>
          <p:cNvSpPr txBox="1"/>
          <p:nvPr/>
        </p:nvSpPr>
        <p:spPr>
          <a:xfrm>
            <a:off x="6384445" y="4437076"/>
            <a:ext cx="1648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application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601EB1D-7F5A-5214-A03F-56766F99F3D7}"/>
              </a:ext>
            </a:extLst>
          </p:cNvPr>
          <p:cNvGrpSpPr/>
          <p:nvPr/>
        </p:nvGrpSpPr>
        <p:grpSpPr>
          <a:xfrm>
            <a:off x="4177445" y="2524820"/>
            <a:ext cx="1648014" cy="1808359"/>
            <a:chOff x="6761932" y="1222043"/>
            <a:chExt cx="1648014" cy="1808359"/>
          </a:xfrm>
        </p:grpSpPr>
        <p:sp>
          <p:nvSpPr>
            <p:cNvPr id="12" name="Free-form: Shape 297">
              <a:extLst>
                <a:ext uri="{FF2B5EF4-FFF2-40B4-BE49-F238E27FC236}">
                  <a16:creationId xmlns:a16="http://schemas.microsoft.com/office/drawing/2014/main" id="{51DB452B-FC7F-D167-7608-24533ADAAE35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-form: Shape 298">
              <a:extLst>
                <a:ext uri="{FF2B5EF4-FFF2-40B4-BE49-F238E27FC236}">
                  <a16:creationId xmlns:a16="http://schemas.microsoft.com/office/drawing/2014/main" id="{E0ADBA32-DD59-4BD8-6604-D46A131C6833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73B693E-3C1A-C9C1-051B-96E99302FB4A}"/>
              </a:ext>
            </a:extLst>
          </p:cNvPr>
          <p:cNvGrpSpPr/>
          <p:nvPr/>
        </p:nvGrpSpPr>
        <p:grpSpPr>
          <a:xfrm>
            <a:off x="6384445" y="2524820"/>
            <a:ext cx="1648014" cy="1808359"/>
            <a:chOff x="6761932" y="1222043"/>
            <a:chExt cx="1648014" cy="1808359"/>
          </a:xfrm>
        </p:grpSpPr>
        <p:sp>
          <p:nvSpPr>
            <p:cNvPr id="15" name="Free-form: Shape 297">
              <a:extLst>
                <a:ext uri="{FF2B5EF4-FFF2-40B4-BE49-F238E27FC236}">
                  <a16:creationId xmlns:a16="http://schemas.microsoft.com/office/drawing/2014/main" id="{DBF82459-CBF9-7F55-394C-67A9780BF078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-form: Shape 298">
              <a:extLst>
                <a:ext uri="{FF2B5EF4-FFF2-40B4-BE49-F238E27FC236}">
                  <a16:creationId xmlns:a16="http://schemas.microsoft.com/office/drawing/2014/main" id="{9FDD9C00-3D10-814F-D6E5-089478F350F9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B19CA40-D385-E83D-AADE-02CC55622F4F}"/>
              </a:ext>
            </a:extLst>
          </p:cNvPr>
          <p:cNvSpPr txBox="1"/>
          <p:nvPr/>
        </p:nvSpPr>
        <p:spPr>
          <a:xfrm>
            <a:off x="8587505" y="4434028"/>
            <a:ext cx="17747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posting dat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2A80843-6459-980A-E6B0-B780EB84DCDF}"/>
              </a:ext>
            </a:extLst>
          </p:cNvPr>
          <p:cNvGrpSpPr/>
          <p:nvPr/>
        </p:nvGrpSpPr>
        <p:grpSpPr>
          <a:xfrm>
            <a:off x="8650857" y="2524820"/>
            <a:ext cx="1648014" cy="1808359"/>
            <a:chOff x="6761932" y="1222043"/>
            <a:chExt cx="1648014" cy="1808359"/>
          </a:xfrm>
        </p:grpSpPr>
        <p:sp>
          <p:nvSpPr>
            <p:cNvPr id="20" name="Free-form: Shape 297">
              <a:extLst>
                <a:ext uri="{FF2B5EF4-FFF2-40B4-BE49-F238E27FC236}">
                  <a16:creationId xmlns:a16="http://schemas.microsoft.com/office/drawing/2014/main" id="{6E206338-7DCA-192C-E14C-8513EC2D5540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-form: Shape 298">
              <a:extLst>
                <a:ext uri="{FF2B5EF4-FFF2-40B4-BE49-F238E27FC236}">
                  <a16:creationId xmlns:a16="http://schemas.microsoft.com/office/drawing/2014/main" id="{416F8AA3-D77F-97E3-C0D7-FE74CC9FD6F6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9827002-F221-636A-826B-BF60448D8F42}"/>
              </a:ext>
            </a:extLst>
          </p:cNvPr>
          <p:cNvSpPr txBox="1"/>
          <p:nvPr/>
        </p:nvSpPr>
        <p:spPr>
          <a:xfrm>
            <a:off x="8852259" y="3448855"/>
            <a:ext cx="124521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17 October</a:t>
            </a:r>
          </a:p>
          <a:p>
            <a:pPr algn="ctr"/>
            <a:r>
              <a:rPr lang="en-GB" b="1" dirty="0"/>
              <a:t>2025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044F3B9-DC3E-71E6-6911-0217F31DBEDF}"/>
              </a:ext>
            </a:extLst>
          </p:cNvPr>
          <p:cNvGrpSpPr/>
          <p:nvPr/>
        </p:nvGrpSpPr>
        <p:grpSpPr>
          <a:xfrm>
            <a:off x="1950845" y="2524820"/>
            <a:ext cx="1648014" cy="1808359"/>
            <a:chOff x="6761932" y="1222043"/>
            <a:chExt cx="1648014" cy="1808359"/>
          </a:xfrm>
        </p:grpSpPr>
        <p:sp>
          <p:nvSpPr>
            <p:cNvPr id="17" name="Free-form: Shape 297">
              <a:extLst>
                <a:ext uri="{FF2B5EF4-FFF2-40B4-BE49-F238E27FC236}">
                  <a16:creationId xmlns:a16="http://schemas.microsoft.com/office/drawing/2014/main" id="{310866B8-1B23-93E1-4895-87C6565E967C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-form: Shape 298">
              <a:extLst>
                <a:ext uri="{FF2B5EF4-FFF2-40B4-BE49-F238E27FC236}">
                  <a16:creationId xmlns:a16="http://schemas.microsoft.com/office/drawing/2014/main" id="{63FFE7D4-AD4F-0851-5879-5F3E33DFFF57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305A0209-4558-B8E6-0269-434DEFD06CE0}"/>
              </a:ext>
            </a:extLst>
          </p:cNvPr>
          <p:cNvSpPr txBox="1"/>
          <p:nvPr/>
        </p:nvSpPr>
        <p:spPr>
          <a:xfrm>
            <a:off x="1840558" y="4465807"/>
            <a:ext cx="1868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Applications ope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12C57BE-02C1-7FA3-B657-262ECC75BDBF}"/>
              </a:ext>
            </a:extLst>
          </p:cNvPr>
          <p:cNvSpPr txBox="1"/>
          <p:nvPr/>
        </p:nvSpPr>
        <p:spPr>
          <a:xfrm>
            <a:off x="2206910" y="3429997"/>
            <a:ext cx="113588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04 August</a:t>
            </a:r>
          </a:p>
          <a:p>
            <a:pPr algn="ctr"/>
            <a:r>
              <a:rPr lang="en-GB" b="1" dirty="0"/>
              <a:t>2025</a:t>
            </a:r>
          </a:p>
        </p:txBody>
      </p:sp>
    </p:spTree>
    <p:extLst>
      <p:ext uri="{BB962C8B-B14F-4D97-AF65-F5344CB8AC3E}">
        <p14:creationId xmlns:p14="http://schemas.microsoft.com/office/powerpoint/2010/main" val="10775803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DB366A-4D6B-D409-7506-F15E0F985E3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7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E48BD8-0A56-0EB5-F371-34D35D536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age credits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4987F5-376F-820A-98FE-D73402FE9DE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9840B1-2B75-FAAD-E047-41CCDECEF9BC}"/>
              </a:ext>
            </a:extLst>
          </p:cNvPr>
          <p:cNvSpPr txBox="1"/>
          <p:nvPr/>
        </p:nvSpPr>
        <p:spPr>
          <a:xfrm>
            <a:off x="7651117" y="2760407"/>
            <a:ext cx="3820548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/>
              <a:t>Get up to 20% postage credit for up to 1m </a:t>
            </a:r>
            <a:r>
              <a:rPr lang="en-GB" sz="2800" dirty="0"/>
              <a:t>incremental advertising mail item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415283-7EB2-EEE7-9B24-464A91B073CF}"/>
              </a:ext>
            </a:extLst>
          </p:cNvPr>
          <p:cNvSpPr txBox="1"/>
          <p:nvPr/>
        </p:nvSpPr>
        <p:spPr>
          <a:xfrm>
            <a:off x="6593572" y="1640726"/>
            <a:ext cx="16193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600" b="1" dirty="0">
                <a:solidFill>
                  <a:schemeClr val="accent1"/>
                </a:solidFill>
                <a:latin typeface="+mj-lt"/>
              </a:rPr>
              <a:t>20</a:t>
            </a:r>
            <a:r>
              <a:rPr lang="en-GB" sz="4400" b="1" dirty="0">
                <a:latin typeface="+mj-lt"/>
              </a:rPr>
              <a:t>%</a:t>
            </a:r>
            <a:endParaRPr lang="en-GB" sz="6600" b="1" dirty="0">
              <a:latin typeface="+mj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4737A41-3FAF-7988-E213-D98BB4490F2A}"/>
              </a:ext>
            </a:extLst>
          </p:cNvPr>
          <p:cNvGrpSpPr/>
          <p:nvPr/>
        </p:nvGrpSpPr>
        <p:grpSpPr>
          <a:xfrm>
            <a:off x="6616320" y="2696836"/>
            <a:ext cx="1004329" cy="1005431"/>
            <a:chOff x="6711028" y="4025932"/>
            <a:chExt cx="761165" cy="762000"/>
          </a:xfrm>
        </p:grpSpPr>
        <p:sp>
          <p:nvSpPr>
            <p:cNvPr id="9" name="Discount">
              <a:extLst>
                <a:ext uri="{FF2B5EF4-FFF2-40B4-BE49-F238E27FC236}">
                  <a16:creationId xmlns:a16="http://schemas.microsoft.com/office/drawing/2014/main" id="{F1AC10D4-F743-BC27-661F-48E0B1AACDDA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6711028" y="4025932"/>
              <a:ext cx="761165" cy="762000"/>
            </a:xfrm>
            <a:custGeom>
              <a:avLst/>
              <a:gdLst>
                <a:gd name="T0" fmla="*/ 188 w 197"/>
                <a:gd name="T1" fmla="*/ 0 h 197"/>
                <a:gd name="T2" fmla="*/ 113 w 197"/>
                <a:gd name="T3" fmla="*/ 0 h 197"/>
                <a:gd name="T4" fmla="*/ 97 w 197"/>
                <a:gd name="T5" fmla="*/ 7 h 197"/>
                <a:gd name="T6" fmla="*/ 4 w 197"/>
                <a:gd name="T7" fmla="*/ 100 h 197"/>
                <a:gd name="T8" fmla="*/ 4 w 197"/>
                <a:gd name="T9" fmla="*/ 113 h 197"/>
                <a:gd name="T10" fmla="*/ 84 w 197"/>
                <a:gd name="T11" fmla="*/ 193 h 197"/>
                <a:gd name="T12" fmla="*/ 97 w 197"/>
                <a:gd name="T13" fmla="*/ 193 h 197"/>
                <a:gd name="T14" fmla="*/ 190 w 197"/>
                <a:gd name="T15" fmla="*/ 100 h 197"/>
                <a:gd name="T16" fmla="*/ 197 w 197"/>
                <a:gd name="T17" fmla="*/ 84 h 197"/>
                <a:gd name="T18" fmla="*/ 197 w 197"/>
                <a:gd name="T19" fmla="*/ 9 h 197"/>
                <a:gd name="T20" fmla="*/ 188 w 197"/>
                <a:gd name="T21" fmla="*/ 0 h 197"/>
                <a:gd name="T22" fmla="*/ 141 w 197"/>
                <a:gd name="T23" fmla="*/ 75 h 197"/>
                <a:gd name="T24" fmla="*/ 122 w 197"/>
                <a:gd name="T25" fmla="*/ 56 h 197"/>
                <a:gd name="T26" fmla="*/ 141 w 197"/>
                <a:gd name="T27" fmla="*/ 38 h 197"/>
                <a:gd name="T28" fmla="*/ 160 w 197"/>
                <a:gd name="T29" fmla="*/ 56 h 197"/>
                <a:gd name="T30" fmla="*/ 141 w 197"/>
                <a:gd name="T31" fmla="*/ 75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197">
                  <a:moveTo>
                    <a:pt x="188" y="0"/>
                  </a:moveTo>
                  <a:lnTo>
                    <a:pt x="113" y="0"/>
                  </a:lnTo>
                  <a:cubicBezTo>
                    <a:pt x="107" y="0"/>
                    <a:pt x="100" y="3"/>
                    <a:pt x="97" y="7"/>
                  </a:cubicBezTo>
                  <a:lnTo>
                    <a:pt x="4" y="100"/>
                  </a:lnTo>
                  <a:cubicBezTo>
                    <a:pt x="0" y="103"/>
                    <a:pt x="0" y="109"/>
                    <a:pt x="4" y="113"/>
                  </a:cubicBezTo>
                  <a:lnTo>
                    <a:pt x="84" y="193"/>
                  </a:lnTo>
                  <a:cubicBezTo>
                    <a:pt x="88" y="197"/>
                    <a:pt x="94" y="197"/>
                    <a:pt x="97" y="193"/>
                  </a:cubicBezTo>
                  <a:lnTo>
                    <a:pt x="190" y="100"/>
                  </a:lnTo>
                  <a:cubicBezTo>
                    <a:pt x="194" y="97"/>
                    <a:pt x="197" y="90"/>
                    <a:pt x="197" y="84"/>
                  </a:cubicBezTo>
                  <a:lnTo>
                    <a:pt x="197" y="9"/>
                  </a:lnTo>
                  <a:cubicBezTo>
                    <a:pt x="197" y="4"/>
                    <a:pt x="193" y="0"/>
                    <a:pt x="188" y="0"/>
                  </a:cubicBezTo>
                  <a:close/>
                  <a:moveTo>
                    <a:pt x="141" y="75"/>
                  </a:moveTo>
                  <a:cubicBezTo>
                    <a:pt x="130" y="75"/>
                    <a:pt x="122" y="67"/>
                    <a:pt x="122" y="56"/>
                  </a:cubicBezTo>
                  <a:cubicBezTo>
                    <a:pt x="122" y="46"/>
                    <a:pt x="130" y="38"/>
                    <a:pt x="141" y="38"/>
                  </a:cubicBezTo>
                  <a:cubicBezTo>
                    <a:pt x="151" y="38"/>
                    <a:pt x="160" y="46"/>
                    <a:pt x="160" y="56"/>
                  </a:cubicBezTo>
                  <a:cubicBezTo>
                    <a:pt x="160" y="67"/>
                    <a:pt x="151" y="75"/>
                    <a:pt x="141" y="75"/>
                  </a:cubicBezTo>
                  <a:close/>
                </a:path>
              </a:pathLst>
            </a:custGeom>
            <a:noFill/>
            <a:ln w="381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0" name="Percent">
              <a:extLst>
                <a:ext uri="{FF2B5EF4-FFF2-40B4-BE49-F238E27FC236}">
                  <a16:creationId xmlns:a16="http://schemas.microsoft.com/office/drawing/2014/main" id="{195F1E20-9E88-277C-E110-725DD899C46B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6932801" y="4321306"/>
              <a:ext cx="220807" cy="249670"/>
              <a:chOff x="171" y="161"/>
              <a:chExt cx="153" cy="173"/>
            </a:xfrm>
            <a:noFill/>
          </p:grpSpPr>
          <p:sp>
            <p:nvSpPr>
              <p:cNvPr id="11" name="Percent">
                <a:extLst>
                  <a:ext uri="{FF2B5EF4-FFF2-40B4-BE49-F238E27FC236}">
                    <a16:creationId xmlns:a16="http://schemas.microsoft.com/office/drawing/2014/main" id="{CBF1B916-BE1A-2676-D4C7-B4B95FACB163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87" y="161"/>
                <a:ext cx="121" cy="173"/>
              </a:xfrm>
              <a:custGeom>
                <a:avLst/>
                <a:gdLst>
                  <a:gd name="T0" fmla="*/ 853 w 889"/>
                  <a:gd name="T1" fmla="*/ 19 h 1272"/>
                  <a:gd name="T2" fmla="*/ 767 w 889"/>
                  <a:gd name="T3" fmla="*/ 37 h 1272"/>
                  <a:gd name="T4" fmla="*/ 19 w 889"/>
                  <a:gd name="T5" fmla="*/ 1177 h 1272"/>
                  <a:gd name="T6" fmla="*/ 36 w 889"/>
                  <a:gd name="T7" fmla="*/ 1262 h 1272"/>
                  <a:gd name="T8" fmla="*/ 71 w 889"/>
                  <a:gd name="T9" fmla="*/ 1272 h 1272"/>
                  <a:gd name="T10" fmla="*/ 122 w 889"/>
                  <a:gd name="T11" fmla="*/ 1244 h 1272"/>
                  <a:gd name="T12" fmla="*/ 870 w 889"/>
                  <a:gd name="T13" fmla="*/ 105 h 1272"/>
                  <a:gd name="T14" fmla="*/ 853 w 889"/>
                  <a:gd name="T15" fmla="*/ 19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9" h="1272">
                    <a:moveTo>
                      <a:pt x="853" y="19"/>
                    </a:moveTo>
                    <a:cubicBezTo>
                      <a:pt x="824" y="0"/>
                      <a:pt x="786" y="8"/>
                      <a:pt x="767" y="37"/>
                    </a:cubicBezTo>
                    <a:lnTo>
                      <a:pt x="19" y="1177"/>
                    </a:lnTo>
                    <a:cubicBezTo>
                      <a:pt x="0" y="1205"/>
                      <a:pt x="8" y="1243"/>
                      <a:pt x="36" y="1262"/>
                    </a:cubicBezTo>
                    <a:cubicBezTo>
                      <a:pt x="47" y="1269"/>
                      <a:pt x="59" y="1272"/>
                      <a:pt x="71" y="1272"/>
                    </a:cubicBezTo>
                    <a:cubicBezTo>
                      <a:pt x="91" y="1272"/>
                      <a:pt x="110" y="1263"/>
                      <a:pt x="122" y="1244"/>
                    </a:cubicBezTo>
                    <a:lnTo>
                      <a:pt x="870" y="105"/>
                    </a:lnTo>
                    <a:cubicBezTo>
                      <a:pt x="889" y="76"/>
                      <a:pt x="881" y="38"/>
                      <a:pt x="853" y="19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Percent">
                <a:extLst>
                  <a:ext uri="{FF2B5EF4-FFF2-40B4-BE49-F238E27FC236}">
                    <a16:creationId xmlns:a16="http://schemas.microsoft.com/office/drawing/2014/main" id="{D20CBC5B-3E28-76F4-8974-2179FF4D6EB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71" y="184"/>
                <a:ext cx="54" cy="54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Percent">
                <a:extLst>
                  <a:ext uri="{FF2B5EF4-FFF2-40B4-BE49-F238E27FC236}">
                    <a16:creationId xmlns:a16="http://schemas.microsoft.com/office/drawing/2014/main" id="{4BB73BF7-AD67-F42F-CC66-0DF1EB67F18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70" y="258"/>
                <a:ext cx="54" cy="55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58362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6F4CDD-8B55-F0A4-D2FA-2BFFF8E92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APPLICATION AND CREDIT pro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89AD00-3452-12CE-DC1F-EAA43123F8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ffer open for postings mailed </a:t>
            </a:r>
            <a:r>
              <a:rPr lang="en-GB"/>
              <a:t>by 17</a:t>
            </a:r>
            <a:r>
              <a:rPr lang="en-GB" baseline="30000"/>
              <a:t>th</a:t>
            </a:r>
            <a:r>
              <a:rPr lang="en-GB"/>
              <a:t> October 2025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0E62A9-A6FC-9A86-71AD-978D1B92DC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C8071C5-54E5-7CA8-0248-F577EFA396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54D7529-DF39-24CF-54FF-A94DBC0E8E74}"/>
              </a:ext>
            </a:extLst>
          </p:cNvPr>
          <p:cNvSpPr>
            <a:spLocks noChangeAspect="1"/>
          </p:cNvSpPr>
          <p:nvPr/>
        </p:nvSpPr>
        <p:spPr>
          <a:xfrm>
            <a:off x="8617167" y="2197134"/>
            <a:ext cx="624548" cy="62454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08BE03A-1D17-0A82-029A-A1832C7F8CC9}"/>
              </a:ext>
            </a:extLst>
          </p:cNvPr>
          <p:cNvSpPr>
            <a:spLocks noChangeAspect="1"/>
          </p:cNvSpPr>
          <p:nvPr/>
        </p:nvSpPr>
        <p:spPr>
          <a:xfrm>
            <a:off x="1216085" y="2122302"/>
            <a:ext cx="624548" cy="62454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9A62ADB0-AEEF-FDE7-9553-F91D2B4725FC}"/>
              </a:ext>
            </a:extLst>
          </p:cNvPr>
          <p:cNvSpPr>
            <a:spLocks noChangeAspect="1"/>
          </p:cNvSpPr>
          <p:nvPr/>
        </p:nvSpPr>
        <p:spPr>
          <a:xfrm>
            <a:off x="4142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4348843F-5ED8-6E42-39BC-25BCB06513E8}"/>
              </a:ext>
            </a:extLst>
          </p:cNvPr>
          <p:cNvSpPr>
            <a:spLocks noChangeAspect="1"/>
          </p:cNvSpPr>
          <p:nvPr/>
        </p:nvSpPr>
        <p:spPr>
          <a:xfrm flipV="1">
            <a:off x="2266140" y="3517759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921900D6-2826-D88B-FC7F-82710A9B0A9E}"/>
              </a:ext>
            </a:extLst>
          </p:cNvPr>
          <p:cNvSpPr>
            <a:spLocks noChangeAspect="1"/>
          </p:cNvSpPr>
          <p:nvPr/>
        </p:nvSpPr>
        <p:spPr>
          <a:xfrm>
            <a:off x="4120020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77FC33E1-99BA-ABFD-54A3-DBF7F5C1755E}"/>
              </a:ext>
            </a:extLst>
          </p:cNvPr>
          <p:cNvSpPr>
            <a:spLocks noChangeAspect="1"/>
          </p:cNvSpPr>
          <p:nvPr/>
        </p:nvSpPr>
        <p:spPr>
          <a:xfrm flipV="1">
            <a:off x="5977077" y="3512996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Block Arc 12">
            <a:extLst>
              <a:ext uri="{FF2B5EF4-FFF2-40B4-BE49-F238E27FC236}">
                <a16:creationId xmlns:a16="http://schemas.microsoft.com/office/drawing/2014/main" id="{4F96552D-24B0-9F65-0B0C-0305CA008D30}"/>
              </a:ext>
            </a:extLst>
          </p:cNvPr>
          <p:cNvSpPr>
            <a:spLocks noChangeAspect="1"/>
          </p:cNvSpPr>
          <p:nvPr/>
        </p:nvSpPr>
        <p:spPr>
          <a:xfrm>
            <a:off x="78363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9B7BA27-A5F4-B03D-87DD-8728F048BB90}"/>
              </a:ext>
            </a:extLst>
          </p:cNvPr>
          <p:cNvSpPr>
            <a:spLocks noChangeAspect="1"/>
          </p:cNvSpPr>
          <p:nvPr/>
        </p:nvSpPr>
        <p:spPr>
          <a:xfrm>
            <a:off x="3016429" y="5366323"/>
            <a:ext cx="624548" cy="6245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8453148-466B-E675-4738-4CBC3556FFE4}"/>
              </a:ext>
            </a:extLst>
          </p:cNvPr>
          <p:cNvSpPr>
            <a:spLocks noChangeAspect="1"/>
          </p:cNvSpPr>
          <p:nvPr/>
        </p:nvSpPr>
        <p:spPr>
          <a:xfrm>
            <a:off x="4890351" y="2164342"/>
            <a:ext cx="624548" cy="6245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78A4320-BD04-6EC6-8FDC-7A66DD81C13F}"/>
              </a:ext>
            </a:extLst>
          </p:cNvPr>
          <p:cNvSpPr>
            <a:spLocks noChangeAspect="1"/>
          </p:cNvSpPr>
          <p:nvPr/>
        </p:nvSpPr>
        <p:spPr>
          <a:xfrm>
            <a:off x="6816324" y="5326321"/>
            <a:ext cx="624548" cy="6245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per_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86BBEFF-A48F-D73E-5CEE-298CBEE42CD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5011448" y="2286098"/>
            <a:ext cx="421847" cy="370825"/>
          </a:xfrm>
          <a:custGeom>
            <a:avLst/>
            <a:gdLst>
              <a:gd name="T0" fmla="*/ 29 w 1232"/>
              <a:gd name="T1" fmla="*/ 8 h 1080"/>
              <a:gd name="T2" fmla="*/ 4 w 1232"/>
              <a:gd name="T3" fmla="*/ 29 h 1080"/>
              <a:gd name="T4" fmla="*/ 234 w 1232"/>
              <a:gd name="T5" fmla="*/ 1055 h 1080"/>
              <a:gd name="T6" fmla="*/ 271 w 1232"/>
              <a:gd name="T7" fmla="*/ 1069 h 1080"/>
              <a:gd name="T8" fmla="*/ 541 w 1232"/>
              <a:gd name="T9" fmla="*/ 880 h 1080"/>
              <a:gd name="T10" fmla="*/ 590 w 1232"/>
              <a:gd name="T11" fmla="*/ 889 h 1080"/>
              <a:gd name="T12" fmla="*/ 679 w 1232"/>
              <a:gd name="T13" fmla="*/ 1020 h 1080"/>
              <a:gd name="T14" fmla="*/ 711 w 1232"/>
              <a:gd name="T15" fmla="*/ 1016 h 1080"/>
              <a:gd name="T16" fmla="*/ 820 w 1232"/>
              <a:gd name="T17" fmla="*/ 722 h 1080"/>
              <a:gd name="T18" fmla="*/ 810 w 1232"/>
              <a:gd name="T19" fmla="*/ 717 h 1080"/>
              <a:gd name="T20" fmla="*/ 771 w 1232"/>
              <a:gd name="T21" fmla="*/ 765 h 1080"/>
              <a:gd name="T22" fmla="*/ 713 w 1232"/>
              <a:gd name="T23" fmla="*/ 794 h 1080"/>
              <a:gd name="T24" fmla="*/ 699 w 1232"/>
              <a:gd name="T25" fmla="*/ 794 h 1080"/>
              <a:gd name="T26" fmla="*/ 641 w 1232"/>
              <a:gd name="T27" fmla="*/ 767 h 1080"/>
              <a:gd name="T28" fmla="*/ 201 w 1232"/>
              <a:gd name="T29" fmla="*/ 211 h 1080"/>
              <a:gd name="T30" fmla="*/ 207 w 1232"/>
              <a:gd name="T31" fmla="*/ 205 h 1080"/>
              <a:gd name="T32" fmla="*/ 804 w 1232"/>
              <a:gd name="T33" fmla="*/ 667 h 1080"/>
              <a:gd name="T34" fmla="*/ 865 w 1232"/>
              <a:gd name="T35" fmla="*/ 677 h 1080"/>
              <a:gd name="T36" fmla="*/ 1213 w 1232"/>
              <a:gd name="T37" fmla="*/ 554 h 1080"/>
              <a:gd name="T38" fmla="*/ 1214 w 1232"/>
              <a:gd name="T39" fmla="*/ 527 h 1080"/>
              <a:gd name="T40" fmla="*/ 29 w 1232"/>
              <a:gd name="T41" fmla="*/ 8 h 1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32" h="1080">
                <a:moveTo>
                  <a:pt x="29" y="8"/>
                </a:moveTo>
                <a:cubicBezTo>
                  <a:pt x="11" y="0"/>
                  <a:pt x="0" y="10"/>
                  <a:pt x="4" y="29"/>
                </a:cubicBezTo>
                <a:lnTo>
                  <a:pt x="234" y="1055"/>
                </a:lnTo>
                <a:cubicBezTo>
                  <a:pt x="239" y="1074"/>
                  <a:pt x="255" y="1080"/>
                  <a:pt x="271" y="1069"/>
                </a:cubicBezTo>
                <a:lnTo>
                  <a:pt x="541" y="880"/>
                </a:lnTo>
                <a:cubicBezTo>
                  <a:pt x="557" y="869"/>
                  <a:pt x="579" y="873"/>
                  <a:pt x="590" y="889"/>
                </a:cubicBezTo>
                <a:lnTo>
                  <a:pt x="679" y="1020"/>
                </a:lnTo>
                <a:cubicBezTo>
                  <a:pt x="689" y="1036"/>
                  <a:pt x="704" y="1035"/>
                  <a:pt x="711" y="1016"/>
                </a:cubicBezTo>
                <a:lnTo>
                  <a:pt x="820" y="722"/>
                </a:lnTo>
                <a:cubicBezTo>
                  <a:pt x="826" y="704"/>
                  <a:pt x="822" y="702"/>
                  <a:pt x="810" y="717"/>
                </a:cubicBezTo>
                <a:lnTo>
                  <a:pt x="771" y="765"/>
                </a:lnTo>
                <a:cubicBezTo>
                  <a:pt x="758" y="780"/>
                  <a:pt x="732" y="793"/>
                  <a:pt x="713" y="794"/>
                </a:cubicBezTo>
                <a:lnTo>
                  <a:pt x="699" y="794"/>
                </a:lnTo>
                <a:cubicBezTo>
                  <a:pt x="679" y="794"/>
                  <a:pt x="653" y="782"/>
                  <a:pt x="641" y="767"/>
                </a:cubicBezTo>
                <a:lnTo>
                  <a:pt x="201" y="211"/>
                </a:lnTo>
                <a:cubicBezTo>
                  <a:pt x="189" y="196"/>
                  <a:pt x="191" y="193"/>
                  <a:pt x="207" y="205"/>
                </a:cubicBezTo>
                <a:lnTo>
                  <a:pt x="804" y="667"/>
                </a:lnTo>
                <a:cubicBezTo>
                  <a:pt x="819" y="679"/>
                  <a:pt x="847" y="684"/>
                  <a:pt x="865" y="677"/>
                </a:cubicBezTo>
                <a:lnTo>
                  <a:pt x="1213" y="554"/>
                </a:lnTo>
                <a:cubicBezTo>
                  <a:pt x="1231" y="547"/>
                  <a:pt x="1232" y="535"/>
                  <a:pt x="1214" y="527"/>
                </a:cubicBezTo>
                <a:lnTo>
                  <a:pt x="29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583C147-C6AC-81A4-E598-06E7FCA781E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999164" y="5786751"/>
            <a:ext cx="383028" cy="9691"/>
            <a:chOff x="2478" y="2188"/>
            <a:chExt cx="2648" cy="67"/>
          </a:xfrm>
          <a:solidFill>
            <a:schemeClr val="accent3"/>
          </a:solidFill>
        </p:grpSpPr>
        <p:sp>
          <p:nvSpPr>
            <p:cNvPr id="19" name="Freeform 487">
              <a:extLst>
                <a:ext uri="{FF2B5EF4-FFF2-40B4-BE49-F238E27FC236}">
                  <a16:creationId xmlns:a16="http://schemas.microsoft.com/office/drawing/2014/main" id="{A56CF35B-558D-2911-8326-5D4BA747A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188"/>
              <a:ext cx="0" cy="31"/>
            </a:xfrm>
            <a:custGeom>
              <a:avLst/>
              <a:gdLst>
                <a:gd name="T0" fmla="*/ 0 h 8"/>
                <a:gd name="T1" fmla="*/ 8 h 8"/>
                <a:gd name="T2" fmla="*/ 6 h 8"/>
                <a:gd name="T3" fmla="*/ 0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8">
                  <a:moveTo>
                    <a:pt x="0" y="0"/>
                  </a:moveTo>
                  <a:lnTo>
                    <a:pt x="0" y="8"/>
                  </a:lnTo>
                  <a:cubicBezTo>
                    <a:pt x="0" y="7"/>
                    <a:pt x="0" y="7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490">
              <a:extLst>
                <a:ext uri="{FF2B5EF4-FFF2-40B4-BE49-F238E27FC236}">
                  <a16:creationId xmlns:a16="http://schemas.microsoft.com/office/drawing/2014/main" id="{08964823-FE7D-71BF-DF35-C2CB5B711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2" y="2211"/>
              <a:ext cx="4" cy="44"/>
            </a:xfrm>
            <a:custGeom>
              <a:avLst/>
              <a:gdLst>
                <a:gd name="T0" fmla="*/ 0 w 1"/>
                <a:gd name="T1" fmla="*/ 8 h 11"/>
                <a:gd name="T2" fmla="*/ 1 w 1"/>
                <a:gd name="T3" fmla="*/ 11 h 11"/>
                <a:gd name="T4" fmla="*/ 1 w 1"/>
                <a:gd name="T5" fmla="*/ 2 h 11"/>
                <a:gd name="T6" fmla="*/ 1 w 1"/>
                <a:gd name="T7" fmla="*/ 0 h 11"/>
                <a:gd name="T8" fmla="*/ 0 w 1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8"/>
                  </a:moveTo>
                  <a:cubicBezTo>
                    <a:pt x="0" y="9"/>
                    <a:pt x="1" y="10"/>
                    <a:pt x="1" y="11"/>
                  </a:cubicBezTo>
                  <a:cubicBezTo>
                    <a:pt x="1" y="8"/>
                    <a:pt x="1" y="5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491">
              <a:extLst>
                <a:ext uri="{FF2B5EF4-FFF2-40B4-BE49-F238E27FC236}">
                  <a16:creationId xmlns:a16="http://schemas.microsoft.com/office/drawing/2014/main" id="{8A89AD6C-6C68-6BAB-10B1-251368447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211"/>
              <a:ext cx="0" cy="44"/>
            </a:xfrm>
            <a:custGeom>
              <a:avLst/>
              <a:gdLst>
                <a:gd name="T0" fmla="*/ 0 h 11"/>
                <a:gd name="T1" fmla="*/ 2 h 11"/>
                <a:gd name="T2" fmla="*/ 11 h 11"/>
                <a:gd name="T3" fmla="*/ 8 h 11"/>
                <a:gd name="T4" fmla="*/ 0 h 1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2" name="Graphic 21" descr="Chat RTL">
            <a:extLst>
              <a:ext uri="{FF2B5EF4-FFF2-40B4-BE49-F238E27FC236}">
                <a16:creationId xmlns:a16="http://schemas.microsoft.com/office/drawing/2014/main" id="{DF090772-A189-80C9-D709-7D8D153B822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70281" y="2186624"/>
            <a:ext cx="516155" cy="516155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8A8697A-B5DB-301C-B28D-88980E2F9D80}"/>
              </a:ext>
            </a:extLst>
          </p:cNvPr>
          <p:cNvSpPr/>
          <p:nvPr/>
        </p:nvSpPr>
        <p:spPr>
          <a:xfrm>
            <a:off x="543959" y="2771731"/>
            <a:ext cx="193092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GET IN TOUCH</a:t>
            </a:r>
          </a:p>
          <a:p>
            <a:pPr lvl="0" algn="ctr">
              <a:defRPr/>
            </a:pPr>
            <a:r>
              <a:rPr lang="en-GB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Speak to your Account Manager to make sure you are applying for the best incentive for your needs and to check that you meet the requirements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F8B7B21-D582-AD1F-4A4B-52534695C694}"/>
              </a:ext>
            </a:extLst>
          </p:cNvPr>
          <p:cNvSpPr txBox="1"/>
          <p:nvPr/>
        </p:nvSpPr>
        <p:spPr>
          <a:xfrm>
            <a:off x="2461277" y="3994485"/>
            <a:ext cx="178290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APPLY ONLINE</a:t>
            </a:r>
          </a:p>
          <a:p>
            <a:pPr lvl="0" algn="ctr">
              <a:defRPr/>
            </a:pPr>
            <a:r>
              <a:rPr lang="en-GB" sz="1400" dirty="0"/>
              <a:t>Use the link to the online application.  Your application can also be completed by an agent.</a:t>
            </a:r>
          </a:p>
        </p:txBody>
      </p:sp>
      <p:pic>
        <p:nvPicPr>
          <p:cNvPr id="25" name="Graphic 24" descr="Internet">
            <a:extLst>
              <a:ext uri="{FF2B5EF4-FFF2-40B4-BE49-F238E27FC236}">
                <a16:creationId xmlns:a16="http://schemas.microsoft.com/office/drawing/2014/main" id="{FE31E77F-19D8-0B7B-8684-7B1AF4B9EEB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75097" y="5413812"/>
            <a:ext cx="516155" cy="51615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29D4217-8B06-8730-8CE3-A0C42DAA104E}"/>
              </a:ext>
            </a:extLst>
          </p:cNvPr>
          <p:cNvSpPr txBox="1"/>
          <p:nvPr/>
        </p:nvSpPr>
        <p:spPr>
          <a:xfrm>
            <a:off x="4227469" y="2885453"/>
            <a:ext cx="200377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WE’LL GET IN TOUCH</a:t>
            </a:r>
          </a:p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o discuss your application and check all the detail with you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C72E5B7-A2ED-515E-74FE-8FAC5EE5EC48}"/>
              </a:ext>
            </a:extLst>
          </p:cNvPr>
          <p:cNvSpPr txBox="1"/>
          <p:nvPr/>
        </p:nvSpPr>
        <p:spPr>
          <a:xfrm>
            <a:off x="6098662" y="4534324"/>
            <a:ext cx="19927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POST YOUR MAILINGS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Start posting your volume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7F7D9C7-1379-A1FA-96FD-E2D43A4A0EE6}"/>
              </a:ext>
            </a:extLst>
          </p:cNvPr>
          <p:cNvSpPr txBox="1"/>
          <p:nvPr/>
        </p:nvSpPr>
        <p:spPr>
          <a:xfrm>
            <a:off x="9814795" y="3612037"/>
            <a:ext cx="1975346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REDEEM YOUR </a:t>
            </a:r>
          </a:p>
          <a:p>
            <a:pPr algn="ctr">
              <a:defRPr/>
            </a:pPr>
            <a:r>
              <a:rPr lang="en-GB" sz="1400" b="1" dirty="0"/>
              <a:t>CREDIT</a:t>
            </a:r>
          </a:p>
          <a:p>
            <a:pPr algn="ctr"/>
            <a:r>
              <a:rPr lang="en-GB" sz="1400" dirty="0"/>
              <a:t>Receive your credit as a voucher or have it paid into a Royal Mail postage account. Credit vouchers are valid for 12 months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B8164D4-3E9F-7EFF-62C9-DE9F57C1E975}"/>
              </a:ext>
            </a:extLst>
          </p:cNvPr>
          <p:cNvSpPr txBox="1"/>
          <p:nvPr/>
        </p:nvSpPr>
        <p:spPr>
          <a:xfrm>
            <a:off x="7989307" y="2832618"/>
            <a:ext cx="19230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APPLY FOR YOUR POSTAGE CREDIT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When you have completed your activity you will need to apply to Royal Mail for your credit.</a:t>
            </a:r>
          </a:p>
        </p:txBody>
      </p:sp>
      <p:sp>
        <p:nvSpPr>
          <p:cNvPr id="30" name="Block Arc 29">
            <a:extLst>
              <a:ext uri="{FF2B5EF4-FFF2-40B4-BE49-F238E27FC236}">
                <a16:creationId xmlns:a16="http://schemas.microsoft.com/office/drawing/2014/main" id="{0852CE3E-F4DF-1771-60F3-3FE0E80AC9DC}"/>
              </a:ext>
            </a:extLst>
          </p:cNvPr>
          <p:cNvSpPr>
            <a:spLocks noChangeAspect="1"/>
          </p:cNvSpPr>
          <p:nvPr/>
        </p:nvSpPr>
        <p:spPr>
          <a:xfrm flipV="1">
            <a:off x="9694062" y="3515685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1" name="Graphic 30" descr="Envelope">
            <a:extLst>
              <a:ext uri="{FF2B5EF4-FFF2-40B4-BE49-F238E27FC236}">
                <a16:creationId xmlns:a16="http://schemas.microsoft.com/office/drawing/2014/main" id="{FDC25DE2-3043-2A21-E67A-0423678BA92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891475" y="5412396"/>
            <a:ext cx="469232" cy="469232"/>
          </a:xfrm>
          <a:prstGeom prst="rect">
            <a:avLst/>
          </a:prstGeom>
        </p:spPr>
      </p:pic>
      <p:sp>
        <p:nvSpPr>
          <p:cNvPr id="32" name="Oval 31">
            <a:extLst>
              <a:ext uri="{FF2B5EF4-FFF2-40B4-BE49-F238E27FC236}">
                <a16:creationId xmlns:a16="http://schemas.microsoft.com/office/drawing/2014/main" id="{B73105F3-E549-8116-68E9-EBFFCBC74C0E}"/>
              </a:ext>
            </a:extLst>
          </p:cNvPr>
          <p:cNvSpPr>
            <a:spLocks noChangeAspect="1"/>
          </p:cNvSpPr>
          <p:nvPr/>
        </p:nvSpPr>
        <p:spPr>
          <a:xfrm>
            <a:off x="10543140" y="5362902"/>
            <a:ext cx="624548" cy="6245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3" name="Plu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E3FEE62-5B03-A82A-30D6-545A175807C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726087" y="2304543"/>
            <a:ext cx="406708" cy="407907"/>
            <a:chOff x="50" y="50"/>
            <a:chExt cx="339" cy="340"/>
          </a:xfrm>
          <a:solidFill>
            <a:schemeClr val="bg1"/>
          </a:solidFill>
        </p:grpSpPr>
        <p:sp>
          <p:nvSpPr>
            <p:cNvPr id="34" name="Plus">
              <a:extLst>
                <a:ext uri="{FF2B5EF4-FFF2-40B4-BE49-F238E27FC236}">
                  <a16:creationId xmlns:a16="http://schemas.microsoft.com/office/drawing/2014/main" id="{37FEA078-30EC-E45C-694B-9F9BA700270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35" y="135"/>
              <a:ext cx="169" cy="170"/>
            </a:xfrm>
            <a:custGeom>
              <a:avLst/>
              <a:gdLst>
                <a:gd name="T0" fmla="*/ 50 w 100"/>
                <a:gd name="T1" fmla="*/ 100 h 100"/>
                <a:gd name="T2" fmla="*/ 63 w 100"/>
                <a:gd name="T3" fmla="*/ 88 h 100"/>
                <a:gd name="T4" fmla="*/ 63 w 100"/>
                <a:gd name="T5" fmla="*/ 63 h 100"/>
                <a:gd name="T6" fmla="*/ 88 w 100"/>
                <a:gd name="T7" fmla="*/ 63 h 100"/>
                <a:gd name="T8" fmla="*/ 100 w 100"/>
                <a:gd name="T9" fmla="*/ 50 h 100"/>
                <a:gd name="T10" fmla="*/ 88 w 100"/>
                <a:gd name="T11" fmla="*/ 38 h 100"/>
                <a:gd name="T12" fmla="*/ 63 w 100"/>
                <a:gd name="T13" fmla="*/ 38 h 100"/>
                <a:gd name="T14" fmla="*/ 63 w 100"/>
                <a:gd name="T15" fmla="*/ 13 h 100"/>
                <a:gd name="T16" fmla="*/ 50 w 100"/>
                <a:gd name="T17" fmla="*/ 0 h 100"/>
                <a:gd name="T18" fmla="*/ 38 w 100"/>
                <a:gd name="T19" fmla="*/ 13 h 100"/>
                <a:gd name="T20" fmla="*/ 38 w 100"/>
                <a:gd name="T21" fmla="*/ 38 h 100"/>
                <a:gd name="T22" fmla="*/ 13 w 100"/>
                <a:gd name="T23" fmla="*/ 38 h 100"/>
                <a:gd name="T24" fmla="*/ 0 w 100"/>
                <a:gd name="T25" fmla="*/ 50 h 100"/>
                <a:gd name="T26" fmla="*/ 13 w 100"/>
                <a:gd name="T27" fmla="*/ 63 h 100"/>
                <a:gd name="T28" fmla="*/ 38 w 100"/>
                <a:gd name="T29" fmla="*/ 63 h 100"/>
                <a:gd name="T30" fmla="*/ 38 w 100"/>
                <a:gd name="T31" fmla="*/ 88 h 100"/>
                <a:gd name="T32" fmla="*/ 50 w 100"/>
                <a:gd name="T3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57" y="100"/>
                    <a:pt x="63" y="94"/>
                    <a:pt x="63" y="88"/>
                  </a:cubicBezTo>
                  <a:lnTo>
                    <a:pt x="63" y="63"/>
                  </a:lnTo>
                  <a:lnTo>
                    <a:pt x="88" y="63"/>
                  </a:lnTo>
                  <a:cubicBezTo>
                    <a:pt x="94" y="63"/>
                    <a:pt x="100" y="57"/>
                    <a:pt x="100" y="50"/>
                  </a:cubicBezTo>
                  <a:cubicBezTo>
                    <a:pt x="100" y="43"/>
                    <a:pt x="94" y="38"/>
                    <a:pt x="88" y="38"/>
                  </a:cubicBezTo>
                  <a:lnTo>
                    <a:pt x="63" y="38"/>
                  </a:lnTo>
                  <a:lnTo>
                    <a:pt x="63" y="13"/>
                  </a:lnTo>
                  <a:cubicBezTo>
                    <a:pt x="63" y="6"/>
                    <a:pt x="57" y="0"/>
                    <a:pt x="50" y="0"/>
                  </a:cubicBezTo>
                  <a:cubicBezTo>
                    <a:pt x="43" y="0"/>
                    <a:pt x="38" y="6"/>
                    <a:pt x="38" y="13"/>
                  </a:cubicBezTo>
                  <a:lnTo>
                    <a:pt x="38" y="38"/>
                  </a:lnTo>
                  <a:lnTo>
                    <a:pt x="13" y="38"/>
                  </a:lnTo>
                  <a:cubicBezTo>
                    <a:pt x="6" y="38"/>
                    <a:pt x="0" y="43"/>
                    <a:pt x="0" y="50"/>
                  </a:cubicBezTo>
                  <a:cubicBezTo>
                    <a:pt x="0" y="57"/>
                    <a:pt x="6" y="63"/>
                    <a:pt x="13" y="63"/>
                  </a:cubicBezTo>
                  <a:lnTo>
                    <a:pt x="38" y="63"/>
                  </a:lnTo>
                  <a:lnTo>
                    <a:pt x="38" y="88"/>
                  </a:lnTo>
                  <a:cubicBezTo>
                    <a:pt x="38" y="94"/>
                    <a:pt x="43" y="100"/>
                    <a:pt x="5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Plus">
              <a:extLst>
                <a:ext uri="{FF2B5EF4-FFF2-40B4-BE49-F238E27FC236}">
                  <a16:creationId xmlns:a16="http://schemas.microsoft.com/office/drawing/2014/main" id="{1AEDD5D4-1CA8-E154-0B36-766D2C8E38B1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0" y="50"/>
              <a:ext cx="339" cy="340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151 w 200"/>
                <a:gd name="T7" fmla="*/ 186 h 200"/>
                <a:gd name="T8" fmla="*/ 156 w 200"/>
                <a:gd name="T9" fmla="*/ 169 h 200"/>
                <a:gd name="T10" fmla="*/ 139 w 200"/>
                <a:gd name="T11" fmla="*/ 164 h 200"/>
                <a:gd name="T12" fmla="*/ 100 w 200"/>
                <a:gd name="T13" fmla="*/ 175 h 200"/>
                <a:gd name="T14" fmla="*/ 25 w 200"/>
                <a:gd name="T15" fmla="*/ 100 h 200"/>
                <a:gd name="T16" fmla="*/ 100 w 200"/>
                <a:gd name="T17" fmla="*/ 25 h 200"/>
                <a:gd name="T18" fmla="*/ 175 w 200"/>
                <a:gd name="T19" fmla="*/ 100 h 200"/>
                <a:gd name="T20" fmla="*/ 164 w 200"/>
                <a:gd name="T21" fmla="*/ 139 h 200"/>
                <a:gd name="T22" fmla="*/ 169 w 200"/>
                <a:gd name="T23" fmla="*/ 156 h 200"/>
                <a:gd name="T24" fmla="*/ 186 w 200"/>
                <a:gd name="T25" fmla="*/ 151 h 200"/>
                <a:gd name="T26" fmla="*/ 200 w 200"/>
                <a:gd name="T27" fmla="*/ 100 h 200"/>
                <a:gd name="T28" fmla="*/ 100 w 200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18" y="200"/>
                    <a:pt x="136" y="195"/>
                    <a:pt x="151" y="186"/>
                  </a:cubicBezTo>
                  <a:cubicBezTo>
                    <a:pt x="157" y="182"/>
                    <a:pt x="159" y="174"/>
                    <a:pt x="156" y="169"/>
                  </a:cubicBezTo>
                  <a:cubicBezTo>
                    <a:pt x="152" y="163"/>
                    <a:pt x="144" y="161"/>
                    <a:pt x="139" y="164"/>
                  </a:cubicBezTo>
                  <a:cubicBezTo>
                    <a:pt x="127" y="171"/>
                    <a:pt x="114" y="175"/>
                    <a:pt x="100" y="175"/>
                  </a:cubicBezTo>
                  <a:cubicBezTo>
                    <a:pt x="59" y="175"/>
                    <a:pt x="25" y="141"/>
                    <a:pt x="25" y="100"/>
                  </a:cubicBezTo>
                  <a:cubicBezTo>
                    <a:pt x="25" y="59"/>
                    <a:pt x="59" y="25"/>
                    <a:pt x="100" y="25"/>
                  </a:cubicBezTo>
                  <a:cubicBezTo>
                    <a:pt x="141" y="25"/>
                    <a:pt x="175" y="59"/>
                    <a:pt x="175" y="100"/>
                  </a:cubicBezTo>
                  <a:cubicBezTo>
                    <a:pt x="175" y="114"/>
                    <a:pt x="171" y="127"/>
                    <a:pt x="164" y="139"/>
                  </a:cubicBezTo>
                  <a:cubicBezTo>
                    <a:pt x="161" y="144"/>
                    <a:pt x="163" y="152"/>
                    <a:pt x="169" y="156"/>
                  </a:cubicBezTo>
                  <a:cubicBezTo>
                    <a:pt x="174" y="159"/>
                    <a:pt x="182" y="157"/>
                    <a:pt x="186" y="151"/>
                  </a:cubicBezTo>
                  <a:cubicBezTo>
                    <a:pt x="195" y="136"/>
                    <a:pt x="200" y="118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" name="Accoun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43B14C4-C1D4-8F39-3855-392989E1461B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647090" y="5477695"/>
            <a:ext cx="482002" cy="407907"/>
            <a:chOff x="2687638" y="138112"/>
            <a:chExt cx="981075" cy="830263"/>
          </a:xfrm>
          <a:solidFill>
            <a:schemeClr val="tx1"/>
          </a:solidFill>
        </p:grpSpPr>
        <p:sp>
          <p:nvSpPr>
            <p:cNvPr id="37" name="Freeform 105">
              <a:extLst>
                <a:ext uri="{FF2B5EF4-FFF2-40B4-BE49-F238E27FC236}">
                  <a16:creationId xmlns:a16="http://schemas.microsoft.com/office/drawing/2014/main" id="{0272BB4D-BD74-1E86-EE68-AF6C1EBE5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138112"/>
              <a:ext cx="968375" cy="514350"/>
            </a:xfrm>
            <a:custGeom>
              <a:avLst/>
              <a:gdLst>
                <a:gd name="T0" fmla="*/ 1260 w 1272"/>
                <a:gd name="T1" fmla="*/ 388 h 675"/>
                <a:gd name="T2" fmla="*/ 595 w 1272"/>
                <a:gd name="T3" fmla="*/ 4 h 675"/>
                <a:gd name="T4" fmla="*/ 570 w 1272"/>
                <a:gd name="T5" fmla="*/ 4 h 675"/>
                <a:gd name="T6" fmla="*/ 13 w 1272"/>
                <a:gd name="T7" fmla="*/ 328 h 675"/>
                <a:gd name="T8" fmla="*/ 0 w 1272"/>
                <a:gd name="T9" fmla="*/ 350 h 675"/>
                <a:gd name="T10" fmla="*/ 13 w 1272"/>
                <a:gd name="T11" fmla="*/ 371 h 675"/>
                <a:gd name="T12" fmla="*/ 234 w 1272"/>
                <a:gd name="T13" fmla="*/ 499 h 675"/>
                <a:gd name="T14" fmla="*/ 284 w 1272"/>
                <a:gd name="T15" fmla="*/ 470 h 675"/>
                <a:gd name="T16" fmla="*/ 75 w 1272"/>
                <a:gd name="T17" fmla="*/ 350 h 675"/>
                <a:gd name="T18" fmla="*/ 583 w 1272"/>
                <a:gd name="T19" fmla="*/ 55 h 675"/>
                <a:gd name="T20" fmla="*/ 1197 w 1272"/>
                <a:gd name="T21" fmla="*/ 409 h 675"/>
                <a:gd name="T22" fmla="*/ 791 w 1272"/>
                <a:gd name="T23" fmla="*/ 646 h 675"/>
                <a:gd name="T24" fmla="*/ 841 w 1272"/>
                <a:gd name="T25" fmla="*/ 675 h 675"/>
                <a:gd name="T26" fmla="*/ 1260 w 1272"/>
                <a:gd name="T27" fmla="*/ 431 h 675"/>
                <a:gd name="T28" fmla="*/ 1272 w 1272"/>
                <a:gd name="T29" fmla="*/ 409 h 675"/>
                <a:gd name="T30" fmla="*/ 1260 w 1272"/>
                <a:gd name="T31" fmla="*/ 388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2" h="675">
                  <a:moveTo>
                    <a:pt x="1260" y="388"/>
                  </a:moveTo>
                  <a:lnTo>
                    <a:pt x="595" y="4"/>
                  </a:lnTo>
                  <a:cubicBezTo>
                    <a:pt x="588" y="0"/>
                    <a:pt x="578" y="0"/>
                    <a:pt x="570" y="4"/>
                  </a:cubicBezTo>
                  <a:lnTo>
                    <a:pt x="13" y="328"/>
                  </a:lnTo>
                  <a:cubicBezTo>
                    <a:pt x="5" y="333"/>
                    <a:pt x="0" y="341"/>
                    <a:pt x="0" y="350"/>
                  </a:cubicBezTo>
                  <a:cubicBezTo>
                    <a:pt x="0" y="359"/>
                    <a:pt x="5" y="367"/>
                    <a:pt x="13" y="371"/>
                  </a:cubicBezTo>
                  <a:lnTo>
                    <a:pt x="234" y="499"/>
                  </a:lnTo>
                  <a:lnTo>
                    <a:pt x="284" y="470"/>
                  </a:lnTo>
                  <a:lnTo>
                    <a:pt x="75" y="350"/>
                  </a:lnTo>
                  <a:lnTo>
                    <a:pt x="583" y="55"/>
                  </a:lnTo>
                  <a:lnTo>
                    <a:pt x="1197" y="409"/>
                  </a:lnTo>
                  <a:lnTo>
                    <a:pt x="791" y="646"/>
                  </a:lnTo>
                  <a:lnTo>
                    <a:pt x="841" y="675"/>
                  </a:lnTo>
                  <a:lnTo>
                    <a:pt x="1260" y="431"/>
                  </a:lnTo>
                  <a:cubicBezTo>
                    <a:pt x="1268" y="427"/>
                    <a:pt x="1272" y="418"/>
                    <a:pt x="1272" y="409"/>
                  </a:cubicBezTo>
                  <a:cubicBezTo>
                    <a:pt x="1272" y="400"/>
                    <a:pt x="1267" y="392"/>
                    <a:pt x="1260" y="38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106">
              <a:extLst>
                <a:ext uri="{FF2B5EF4-FFF2-40B4-BE49-F238E27FC236}">
                  <a16:creationId xmlns:a16="http://schemas.microsoft.com/office/drawing/2014/main" id="{4A985E68-26EF-90A0-CAB5-A8BF36119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1651" y="296862"/>
              <a:ext cx="296863" cy="111125"/>
            </a:xfrm>
            <a:custGeom>
              <a:avLst/>
              <a:gdLst>
                <a:gd name="T0" fmla="*/ 388 w 388"/>
                <a:gd name="T1" fmla="*/ 45 h 146"/>
                <a:gd name="T2" fmla="*/ 186 w 388"/>
                <a:gd name="T3" fmla="*/ 0 h 146"/>
                <a:gd name="T4" fmla="*/ 0 w 388"/>
                <a:gd name="T5" fmla="*/ 37 h 146"/>
                <a:gd name="T6" fmla="*/ 188 w 388"/>
                <a:gd name="T7" fmla="*/ 146 h 146"/>
                <a:gd name="T8" fmla="*/ 388 w 388"/>
                <a:gd name="T9" fmla="*/ 4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146">
                  <a:moveTo>
                    <a:pt x="388" y="45"/>
                  </a:moveTo>
                  <a:cubicBezTo>
                    <a:pt x="333" y="16"/>
                    <a:pt x="262" y="0"/>
                    <a:pt x="186" y="0"/>
                  </a:cubicBezTo>
                  <a:cubicBezTo>
                    <a:pt x="118" y="0"/>
                    <a:pt x="52" y="13"/>
                    <a:pt x="0" y="37"/>
                  </a:cubicBezTo>
                  <a:lnTo>
                    <a:pt x="188" y="146"/>
                  </a:lnTo>
                  <a:lnTo>
                    <a:pt x="388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07">
              <a:extLst>
                <a:ext uri="{FF2B5EF4-FFF2-40B4-BE49-F238E27FC236}">
                  <a16:creationId xmlns:a16="http://schemas.microsoft.com/office/drawing/2014/main" id="{F02F9B5F-5332-34FD-102A-B7B35CC38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350837"/>
              <a:ext cx="204788" cy="196850"/>
            </a:xfrm>
            <a:custGeom>
              <a:avLst/>
              <a:gdLst>
                <a:gd name="T0" fmla="*/ 81 w 267"/>
                <a:gd name="T1" fmla="*/ 257 h 257"/>
                <a:gd name="T2" fmla="*/ 163 w 267"/>
                <a:gd name="T3" fmla="*/ 227 h 257"/>
                <a:gd name="T4" fmla="*/ 264 w 267"/>
                <a:gd name="T5" fmla="*/ 109 h 257"/>
                <a:gd name="T6" fmla="*/ 209 w 267"/>
                <a:gd name="T7" fmla="*/ 0 h 257"/>
                <a:gd name="T8" fmla="*/ 0 w 267"/>
                <a:gd name="T9" fmla="*/ 105 h 257"/>
                <a:gd name="T10" fmla="*/ 81 w 267"/>
                <a:gd name="T11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57">
                  <a:moveTo>
                    <a:pt x="81" y="257"/>
                  </a:moveTo>
                  <a:cubicBezTo>
                    <a:pt x="111" y="250"/>
                    <a:pt x="138" y="240"/>
                    <a:pt x="163" y="227"/>
                  </a:cubicBezTo>
                  <a:cubicBezTo>
                    <a:pt x="223" y="197"/>
                    <a:pt x="259" y="155"/>
                    <a:pt x="264" y="109"/>
                  </a:cubicBezTo>
                  <a:cubicBezTo>
                    <a:pt x="267" y="70"/>
                    <a:pt x="248" y="32"/>
                    <a:pt x="209" y="0"/>
                  </a:cubicBezTo>
                  <a:lnTo>
                    <a:pt x="0" y="105"/>
                  </a:lnTo>
                  <a:lnTo>
                    <a:pt x="81" y="2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108">
              <a:extLst>
                <a:ext uri="{FF2B5EF4-FFF2-40B4-BE49-F238E27FC236}">
                  <a16:creationId xmlns:a16="http://schemas.microsoft.com/office/drawing/2014/main" id="{6849CACB-3F5C-1891-33C4-01EAD6C02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26" y="344487"/>
              <a:ext cx="285750" cy="212725"/>
            </a:xfrm>
            <a:custGeom>
              <a:avLst/>
              <a:gdLst>
                <a:gd name="T0" fmla="*/ 317 w 375"/>
                <a:gd name="T1" fmla="*/ 279 h 279"/>
                <a:gd name="T2" fmla="*/ 375 w 375"/>
                <a:gd name="T3" fmla="*/ 275 h 279"/>
                <a:gd name="T4" fmla="*/ 291 w 375"/>
                <a:gd name="T5" fmla="*/ 118 h 279"/>
                <a:gd name="T6" fmla="*/ 85 w 375"/>
                <a:gd name="T7" fmla="*/ 0 h 279"/>
                <a:gd name="T8" fmla="*/ 32 w 375"/>
                <a:gd name="T9" fmla="*/ 159 h 279"/>
                <a:gd name="T10" fmla="*/ 154 w 375"/>
                <a:gd name="T11" fmla="*/ 155 h 279"/>
                <a:gd name="T12" fmla="*/ 304 w 375"/>
                <a:gd name="T13" fmla="*/ 277 h 279"/>
                <a:gd name="T14" fmla="*/ 317 w 375"/>
                <a:gd name="T1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5" h="279">
                  <a:moveTo>
                    <a:pt x="317" y="279"/>
                  </a:moveTo>
                  <a:cubicBezTo>
                    <a:pt x="336" y="279"/>
                    <a:pt x="356" y="278"/>
                    <a:pt x="375" y="275"/>
                  </a:cubicBezTo>
                  <a:lnTo>
                    <a:pt x="291" y="118"/>
                  </a:lnTo>
                  <a:lnTo>
                    <a:pt x="85" y="0"/>
                  </a:lnTo>
                  <a:cubicBezTo>
                    <a:pt x="21" y="44"/>
                    <a:pt x="0" y="101"/>
                    <a:pt x="32" y="159"/>
                  </a:cubicBezTo>
                  <a:cubicBezTo>
                    <a:pt x="72" y="133"/>
                    <a:pt x="119" y="133"/>
                    <a:pt x="154" y="155"/>
                  </a:cubicBezTo>
                  <a:lnTo>
                    <a:pt x="304" y="277"/>
                  </a:lnTo>
                  <a:cubicBezTo>
                    <a:pt x="304" y="277"/>
                    <a:pt x="307" y="279"/>
                    <a:pt x="317" y="27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09">
              <a:extLst>
                <a:ext uri="{FF2B5EF4-FFF2-40B4-BE49-F238E27FC236}">
                  <a16:creationId xmlns:a16="http://schemas.microsoft.com/office/drawing/2014/main" id="{F582A16A-C9AD-09E8-62E0-C94A78D58B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638" y="484187"/>
              <a:ext cx="684213" cy="484188"/>
            </a:xfrm>
            <a:custGeom>
              <a:avLst/>
              <a:gdLst>
                <a:gd name="T0" fmla="*/ 848 w 898"/>
                <a:gd name="T1" fmla="*/ 363 h 635"/>
                <a:gd name="T2" fmla="*/ 472 w 898"/>
                <a:gd name="T3" fmla="*/ 580 h 635"/>
                <a:gd name="T4" fmla="*/ 466 w 898"/>
                <a:gd name="T5" fmla="*/ 581 h 635"/>
                <a:gd name="T6" fmla="*/ 459 w 898"/>
                <a:gd name="T7" fmla="*/ 580 h 635"/>
                <a:gd name="T8" fmla="*/ 178 w 898"/>
                <a:gd name="T9" fmla="*/ 417 h 635"/>
                <a:gd name="T10" fmla="*/ 50 w 898"/>
                <a:gd name="T11" fmla="*/ 308 h 635"/>
                <a:gd name="T12" fmla="*/ 50 w 898"/>
                <a:gd name="T13" fmla="*/ 275 h 635"/>
                <a:gd name="T14" fmla="*/ 426 w 898"/>
                <a:gd name="T15" fmla="*/ 58 h 635"/>
                <a:gd name="T16" fmla="*/ 433 w 898"/>
                <a:gd name="T17" fmla="*/ 56 h 635"/>
                <a:gd name="T18" fmla="*/ 438 w 898"/>
                <a:gd name="T19" fmla="*/ 57 h 635"/>
                <a:gd name="T20" fmla="*/ 579 w 898"/>
                <a:gd name="T21" fmla="*/ 174 h 635"/>
                <a:gd name="T22" fmla="*/ 848 w 898"/>
                <a:gd name="T23" fmla="*/ 330 h 635"/>
                <a:gd name="T24" fmla="*/ 848 w 898"/>
                <a:gd name="T25" fmla="*/ 363 h 635"/>
                <a:gd name="T26" fmla="*/ 497 w 898"/>
                <a:gd name="T27" fmla="*/ 623 h 635"/>
                <a:gd name="T28" fmla="*/ 873 w 898"/>
                <a:gd name="T29" fmla="*/ 406 h 635"/>
                <a:gd name="T30" fmla="*/ 898 w 898"/>
                <a:gd name="T31" fmla="*/ 363 h 635"/>
                <a:gd name="T32" fmla="*/ 898 w 898"/>
                <a:gd name="T33" fmla="*/ 330 h 635"/>
                <a:gd name="T34" fmla="*/ 873 w 898"/>
                <a:gd name="T35" fmla="*/ 287 h 635"/>
                <a:gd name="T36" fmla="*/ 608 w 898"/>
                <a:gd name="T37" fmla="*/ 133 h 635"/>
                <a:gd name="T38" fmla="*/ 470 w 898"/>
                <a:gd name="T39" fmla="*/ 19 h 635"/>
                <a:gd name="T40" fmla="*/ 401 w 898"/>
                <a:gd name="T41" fmla="*/ 14 h 635"/>
                <a:gd name="T42" fmla="*/ 25 w 898"/>
                <a:gd name="T43" fmla="*/ 231 h 635"/>
                <a:gd name="T44" fmla="*/ 0 w 898"/>
                <a:gd name="T45" fmla="*/ 274 h 635"/>
                <a:gd name="T46" fmla="*/ 0 w 898"/>
                <a:gd name="T47" fmla="*/ 307 h 635"/>
                <a:gd name="T48" fmla="*/ 18 w 898"/>
                <a:gd name="T49" fmla="*/ 346 h 635"/>
                <a:gd name="T50" fmla="*/ 146 w 898"/>
                <a:gd name="T51" fmla="*/ 455 h 635"/>
                <a:gd name="T52" fmla="*/ 153 w 898"/>
                <a:gd name="T53" fmla="*/ 460 h 635"/>
                <a:gd name="T54" fmla="*/ 434 w 898"/>
                <a:gd name="T55" fmla="*/ 623 h 635"/>
                <a:gd name="T56" fmla="*/ 497 w 898"/>
                <a:gd name="T57" fmla="*/ 6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8" h="635">
                  <a:moveTo>
                    <a:pt x="848" y="363"/>
                  </a:moveTo>
                  <a:lnTo>
                    <a:pt x="472" y="580"/>
                  </a:lnTo>
                  <a:cubicBezTo>
                    <a:pt x="470" y="581"/>
                    <a:pt x="468" y="581"/>
                    <a:pt x="466" y="581"/>
                  </a:cubicBezTo>
                  <a:cubicBezTo>
                    <a:pt x="464" y="581"/>
                    <a:pt x="461" y="581"/>
                    <a:pt x="459" y="580"/>
                  </a:cubicBezTo>
                  <a:lnTo>
                    <a:pt x="178" y="417"/>
                  </a:lnTo>
                  <a:lnTo>
                    <a:pt x="50" y="308"/>
                  </a:lnTo>
                  <a:lnTo>
                    <a:pt x="50" y="275"/>
                  </a:lnTo>
                  <a:lnTo>
                    <a:pt x="426" y="58"/>
                  </a:lnTo>
                  <a:cubicBezTo>
                    <a:pt x="427" y="57"/>
                    <a:pt x="430" y="56"/>
                    <a:pt x="433" y="56"/>
                  </a:cubicBezTo>
                  <a:cubicBezTo>
                    <a:pt x="435" y="56"/>
                    <a:pt x="437" y="56"/>
                    <a:pt x="438" y="57"/>
                  </a:cubicBezTo>
                  <a:lnTo>
                    <a:pt x="579" y="174"/>
                  </a:lnTo>
                  <a:lnTo>
                    <a:pt x="848" y="330"/>
                  </a:lnTo>
                  <a:lnTo>
                    <a:pt x="848" y="363"/>
                  </a:lnTo>
                  <a:close/>
                  <a:moveTo>
                    <a:pt x="497" y="623"/>
                  </a:moveTo>
                  <a:lnTo>
                    <a:pt x="873" y="406"/>
                  </a:lnTo>
                  <a:cubicBezTo>
                    <a:pt x="889" y="397"/>
                    <a:pt x="898" y="380"/>
                    <a:pt x="898" y="363"/>
                  </a:cubicBezTo>
                  <a:lnTo>
                    <a:pt x="898" y="330"/>
                  </a:lnTo>
                  <a:cubicBezTo>
                    <a:pt x="898" y="312"/>
                    <a:pt x="888" y="296"/>
                    <a:pt x="873" y="287"/>
                  </a:cubicBezTo>
                  <a:lnTo>
                    <a:pt x="608" y="133"/>
                  </a:lnTo>
                  <a:lnTo>
                    <a:pt x="470" y="19"/>
                  </a:lnTo>
                  <a:cubicBezTo>
                    <a:pt x="453" y="5"/>
                    <a:pt x="431" y="0"/>
                    <a:pt x="401" y="14"/>
                  </a:cubicBezTo>
                  <a:lnTo>
                    <a:pt x="25" y="231"/>
                  </a:lnTo>
                  <a:cubicBezTo>
                    <a:pt x="10" y="240"/>
                    <a:pt x="0" y="257"/>
                    <a:pt x="0" y="274"/>
                  </a:cubicBezTo>
                  <a:lnTo>
                    <a:pt x="0" y="307"/>
                  </a:lnTo>
                  <a:cubicBezTo>
                    <a:pt x="0" y="322"/>
                    <a:pt x="7" y="336"/>
                    <a:pt x="18" y="346"/>
                  </a:cubicBezTo>
                  <a:lnTo>
                    <a:pt x="146" y="455"/>
                  </a:lnTo>
                  <a:cubicBezTo>
                    <a:pt x="148" y="457"/>
                    <a:pt x="151" y="458"/>
                    <a:pt x="153" y="460"/>
                  </a:cubicBezTo>
                  <a:lnTo>
                    <a:pt x="434" y="623"/>
                  </a:lnTo>
                  <a:cubicBezTo>
                    <a:pt x="456" y="635"/>
                    <a:pt x="477" y="635"/>
                    <a:pt x="497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10">
              <a:extLst>
                <a:ext uri="{FF2B5EF4-FFF2-40B4-BE49-F238E27FC236}">
                  <a16:creationId xmlns:a16="http://schemas.microsoft.com/office/drawing/2014/main" id="{7FC20B91-2CE7-BF27-3FBD-AD4B4415D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488" y="717550"/>
              <a:ext cx="93663" cy="55563"/>
            </a:xfrm>
            <a:custGeom>
              <a:avLst/>
              <a:gdLst>
                <a:gd name="T0" fmla="*/ 22 w 123"/>
                <a:gd name="T1" fmla="*/ 59 h 72"/>
                <a:gd name="T2" fmla="*/ 101 w 123"/>
                <a:gd name="T3" fmla="*/ 59 h 72"/>
                <a:gd name="T4" fmla="*/ 101 w 123"/>
                <a:gd name="T5" fmla="*/ 13 h 72"/>
                <a:gd name="T6" fmla="*/ 22 w 123"/>
                <a:gd name="T7" fmla="*/ 13 h 72"/>
                <a:gd name="T8" fmla="*/ 22 w 123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2">
                  <a:moveTo>
                    <a:pt x="22" y="59"/>
                  </a:moveTo>
                  <a:cubicBezTo>
                    <a:pt x="44" y="72"/>
                    <a:pt x="79" y="72"/>
                    <a:pt x="101" y="59"/>
                  </a:cubicBezTo>
                  <a:cubicBezTo>
                    <a:pt x="123" y="46"/>
                    <a:pt x="123" y="26"/>
                    <a:pt x="101" y="13"/>
                  </a:cubicBezTo>
                  <a:cubicBezTo>
                    <a:pt x="80" y="0"/>
                    <a:pt x="44" y="0"/>
                    <a:pt x="22" y="13"/>
                  </a:cubicBezTo>
                  <a:cubicBezTo>
                    <a:pt x="0" y="26"/>
                    <a:pt x="0" y="46"/>
                    <a:pt x="22" y="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111">
              <a:extLst>
                <a:ext uri="{FF2B5EF4-FFF2-40B4-BE49-F238E27FC236}">
                  <a16:creationId xmlns:a16="http://schemas.microsoft.com/office/drawing/2014/main" id="{B46255EE-C6AA-42EA-FE31-B31DE9AD8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888" y="658812"/>
              <a:ext cx="93663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1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79" y="0"/>
                    <a:pt x="44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1" y="58"/>
                  </a:cubicBezTo>
                  <a:cubicBezTo>
                    <a:pt x="122" y="46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12">
              <a:extLst>
                <a:ext uri="{FF2B5EF4-FFF2-40B4-BE49-F238E27FC236}">
                  <a16:creationId xmlns:a16="http://schemas.microsoft.com/office/drawing/2014/main" id="{90FD0DA1-77AC-498C-180A-C8CE42506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63" y="788987"/>
              <a:ext cx="95250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2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80" y="0"/>
                    <a:pt x="44" y="0"/>
                    <a:pt x="22" y="12"/>
                  </a:cubicBezTo>
                  <a:cubicBezTo>
                    <a:pt x="0" y="25"/>
                    <a:pt x="0" y="45"/>
                    <a:pt x="22" y="58"/>
                  </a:cubicBezTo>
                  <a:cubicBezTo>
                    <a:pt x="44" y="71"/>
                    <a:pt x="79" y="71"/>
                    <a:pt x="101" y="58"/>
                  </a:cubicBezTo>
                  <a:cubicBezTo>
                    <a:pt x="123" y="45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113">
              <a:extLst>
                <a:ext uri="{FF2B5EF4-FFF2-40B4-BE49-F238E27FC236}">
                  <a16:creationId xmlns:a16="http://schemas.microsoft.com/office/drawing/2014/main" id="{C3E700F9-647F-D069-8EEB-E03A82739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651" y="730250"/>
              <a:ext cx="92075" cy="53975"/>
            </a:xfrm>
            <a:custGeom>
              <a:avLst/>
              <a:gdLst>
                <a:gd name="T0" fmla="*/ 101 w 122"/>
                <a:gd name="T1" fmla="*/ 12 h 71"/>
                <a:gd name="T2" fmla="*/ 22 w 122"/>
                <a:gd name="T3" fmla="*/ 12 h 71"/>
                <a:gd name="T4" fmla="*/ 21 w 122"/>
                <a:gd name="T5" fmla="*/ 58 h 71"/>
                <a:gd name="T6" fmla="*/ 100 w 122"/>
                <a:gd name="T7" fmla="*/ 58 h 71"/>
                <a:gd name="T8" fmla="*/ 101 w 122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1">
                  <a:moveTo>
                    <a:pt x="101" y="12"/>
                  </a:moveTo>
                  <a:cubicBezTo>
                    <a:pt x="79" y="0"/>
                    <a:pt x="43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0" y="58"/>
                  </a:cubicBezTo>
                  <a:cubicBezTo>
                    <a:pt x="122" y="46"/>
                    <a:pt x="122" y="25"/>
                    <a:pt x="101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114">
              <a:extLst>
                <a:ext uri="{FF2B5EF4-FFF2-40B4-BE49-F238E27FC236}">
                  <a16:creationId xmlns:a16="http://schemas.microsoft.com/office/drawing/2014/main" id="{22192775-135A-19E6-2FB8-D005A99E9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1" y="568325"/>
              <a:ext cx="268288" cy="165100"/>
            </a:xfrm>
            <a:custGeom>
              <a:avLst/>
              <a:gdLst>
                <a:gd name="T0" fmla="*/ 347 w 353"/>
                <a:gd name="T1" fmla="*/ 48 h 216"/>
                <a:gd name="T2" fmla="*/ 292 w 353"/>
                <a:gd name="T3" fmla="*/ 3 h 216"/>
                <a:gd name="T4" fmla="*/ 270 w 353"/>
                <a:gd name="T5" fmla="*/ 3 h 216"/>
                <a:gd name="T6" fmla="*/ 6 w 353"/>
                <a:gd name="T7" fmla="*/ 156 h 216"/>
                <a:gd name="T8" fmla="*/ 6 w 353"/>
                <a:gd name="T9" fmla="*/ 168 h 216"/>
                <a:gd name="T10" fmla="*/ 61 w 353"/>
                <a:gd name="T11" fmla="*/ 213 h 216"/>
                <a:gd name="T12" fmla="*/ 83 w 353"/>
                <a:gd name="T13" fmla="*/ 213 h 216"/>
                <a:gd name="T14" fmla="*/ 347 w 353"/>
                <a:gd name="T15" fmla="*/ 60 h 216"/>
                <a:gd name="T16" fmla="*/ 347 w 353"/>
                <a:gd name="T17" fmla="*/ 4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16">
                  <a:moveTo>
                    <a:pt x="347" y="48"/>
                  </a:moveTo>
                  <a:lnTo>
                    <a:pt x="292" y="3"/>
                  </a:lnTo>
                  <a:cubicBezTo>
                    <a:pt x="286" y="0"/>
                    <a:pt x="276" y="0"/>
                    <a:pt x="270" y="3"/>
                  </a:cubicBezTo>
                  <a:lnTo>
                    <a:pt x="6" y="156"/>
                  </a:lnTo>
                  <a:cubicBezTo>
                    <a:pt x="0" y="159"/>
                    <a:pt x="2" y="164"/>
                    <a:pt x="6" y="168"/>
                  </a:cubicBezTo>
                  <a:lnTo>
                    <a:pt x="61" y="213"/>
                  </a:lnTo>
                  <a:cubicBezTo>
                    <a:pt x="67" y="216"/>
                    <a:pt x="77" y="216"/>
                    <a:pt x="83" y="213"/>
                  </a:cubicBezTo>
                  <a:lnTo>
                    <a:pt x="347" y="60"/>
                  </a:lnTo>
                  <a:cubicBezTo>
                    <a:pt x="353" y="57"/>
                    <a:pt x="352" y="51"/>
                    <a:pt x="347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7" name="Action Button: Go to End 46">
            <a:hlinkClick r:id="rId14" highlightClick="1"/>
            <a:extLst>
              <a:ext uri="{FF2B5EF4-FFF2-40B4-BE49-F238E27FC236}">
                <a16:creationId xmlns:a16="http://schemas.microsoft.com/office/drawing/2014/main" id="{9A4A8D39-A647-4B03-2127-9EF9A1BBF7BE}"/>
              </a:ext>
            </a:extLst>
          </p:cNvPr>
          <p:cNvSpPr/>
          <p:nvPr/>
        </p:nvSpPr>
        <p:spPr>
          <a:xfrm>
            <a:off x="543959" y="1377799"/>
            <a:ext cx="475404" cy="425767"/>
          </a:xfrm>
          <a:prstGeom prst="actionButtonE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BD6344B-05FE-6BD6-8C7C-263E21BCE5CF}"/>
              </a:ext>
            </a:extLst>
          </p:cNvPr>
          <p:cNvSpPr/>
          <p:nvPr/>
        </p:nvSpPr>
        <p:spPr>
          <a:xfrm>
            <a:off x="992229" y="1416462"/>
            <a:ext cx="3199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Go to the application form here</a:t>
            </a:r>
          </a:p>
        </p:txBody>
      </p:sp>
    </p:spTree>
    <p:extLst>
      <p:ext uri="{BB962C8B-B14F-4D97-AF65-F5344CB8AC3E}">
        <p14:creationId xmlns:p14="http://schemas.microsoft.com/office/powerpoint/2010/main" val="32533086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FFB8FB2-09D2-7923-7D73-7005CC308A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sz="2400" dirty="0"/>
              <a:t>Why are you testing?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C8726A-627C-4AA2-C6C3-E66EED7CF8F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you tell us about the objectives and strategy for your new  activity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ould you explain how this is something new to your marketing plan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Outline the strategic thinking on why you are sending incremental mail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77ED36C-FDDE-2C48-DF85-F64FE9D2F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ore detail the better!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133AD93-2A5F-658E-3F18-D529BB3AB2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870719" y="2016564"/>
            <a:ext cx="3309915" cy="1031875"/>
          </a:xfrm>
        </p:spPr>
        <p:txBody>
          <a:bodyPr/>
          <a:lstStyle/>
          <a:p>
            <a:r>
              <a:rPr lang="en-GB" sz="2400" dirty="0"/>
              <a:t>How are you measuring the results?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67E108F-0AAA-5611-1B7F-B56D7170C1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 sz="2400" dirty="0"/>
              <a:t>What are the details of the test?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2F642EF-4851-D2A8-508D-09D4BCD7C96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o are you targeting and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argeting strategy have you used e.g. profiling? existing customer base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est cells are in your plan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testing different creative routes and if so,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f you have a test matrix please do include it.</a:t>
            </a:r>
          </a:p>
          <a:p>
            <a:endParaRPr lang="en-GB" sz="160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5749DE-C148-7929-ECD1-C46089B824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Please tell us the volumes you are testing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are the main KPIs for this campaign – predicted response rate, sales and ROI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s there anything else you want to achieve with the campaign?  Drive to digital, push to store or other softer brand measures, for example?</a:t>
            </a:r>
          </a:p>
          <a:p>
            <a:endParaRPr lang="en-GB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BF5C59-D957-7271-8BCA-21E19BB3517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9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7FCEF-501D-11A0-F66D-39C8A3E7E0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 more information you can provide will help us process your applic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A7742C-AC5C-A60A-867E-A4E3BBE7DD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94596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per_POWER_USER_SEPARATOR_ICONS_aircraft_POWER_USER_SEPARATOR_ICONS_airplane_POWER_USER_SEPARATOR_ICONS_play_POWER_USER_SEPARATOR_ICONS_send_POWER_USER_SEPARATOR_ICONS_email_POWER_USER_SEPARATOR_ICONS_messag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heme/theme1.xml><?xml version="1.0" encoding="utf-8"?>
<a:theme xmlns:a="http://schemas.openxmlformats.org/drawingml/2006/main" name="Office Theme">
  <a:themeElements>
    <a:clrScheme name="Custom Marketreach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E7975"/>
      </a:accent2>
      <a:accent3>
        <a:srgbClr val="F9D3D1"/>
      </a:accent3>
      <a:accent4>
        <a:srgbClr val="000000"/>
      </a:accent4>
      <a:accent5>
        <a:srgbClr val="666666"/>
      </a:accent5>
      <a:accent6>
        <a:srgbClr val="C1C1C1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8D8A59B4AA4848ADA4BE9476DACB43" ma:contentTypeVersion="14" ma:contentTypeDescription="Create a new document." ma:contentTypeScope="" ma:versionID="70c108b2fcbff4ff9bbeb89ecf086dda">
  <xsd:schema xmlns:xsd="http://www.w3.org/2001/XMLSchema" xmlns:xs="http://www.w3.org/2001/XMLSchema" xmlns:p="http://schemas.microsoft.com/office/2006/metadata/properties" xmlns:ns3="707d9dac-b3e0-4010-a31f-c9f487ae09b7" targetNamespace="http://schemas.microsoft.com/office/2006/metadata/properties" ma:root="true" ma:fieldsID="196871291bfcfa2beb5b3dd12e95e968" ns3:_="">
    <xsd:import namespace="707d9dac-b3e0-4010-a31f-c9f487ae09b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ObjectDetectorVersions" minOccurs="0"/>
                <xsd:element ref="ns3:_activity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7d9dac-b3e0-4010-a31f-c9f487ae09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707d9dac-b3e0-4010-a31f-c9f487ae09b7" xsi:nil="true"/>
  </documentManagement>
</p:properties>
</file>

<file path=customXml/itemProps1.xml><?xml version="1.0" encoding="utf-8"?>
<ds:datastoreItem xmlns:ds="http://schemas.openxmlformats.org/officeDocument/2006/customXml" ds:itemID="{4E1B26B6-C6C1-4C29-AF4B-6725E03274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7d9dac-b3e0-4010-a31f-c9f487ae09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B9B7A39-CCC6-4ED8-B3FC-BD560E9CD4C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6937AC5-93BF-49A6-B607-CC4F4B0ECEB8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707d9dac-b3e0-4010-a31f-c9f487ae09b7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16</Words>
  <Application>Microsoft Office PowerPoint</Application>
  <PresentationFormat>Widescreen</PresentationFormat>
  <Paragraphs>101</Paragraphs>
  <Slides>11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Century Gothic</vt:lpstr>
      <vt:lpstr>Impact</vt:lpstr>
      <vt:lpstr>Wingdings</vt:lpstr>
      <vt:lpstr>Office Theme</vt:lpstr>
      <vt:lpstr>ROYAL MAIL AUTUMN &amp; WINTER CATALOGUE INCENTIVE</vt:lpstr>
      <vt:lpstr>Incentive Content guidance</vt:lpstr>
      <vt:lpstr>PowerPoint Presentation</vt:lpstr>
      <vt:lpstr>Advertising mail</vt:lpstr>
      <vt:lpstr>Entry requirements</vt:lpstr>
      <vt:lpstr>Offer dates</vt:lpstr>
      <vt:lpstr>Postage credits</vt:lpstr>
      <vt:lpstr>The APPLICATION AND CREDIT process</vt:lpstr>
      <vt:lpstr>The more detail the better!</vt:lpstr>
      <vt:lpstr>Frequently asked ques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10-03T11:19:32Z</dcterms:created>
  <dcterms:modified xsi:type="dcterms:W3CDTF">2025-05-12T14:52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1-08-02T15:26:48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/>
  </property>
  <property fmtid="{D5CDD505-2E9C-101B-9397-08002B2CF9AE}" pid="8" name="MSIP_Label_980f36f3-41a5-4f45-a6a2-e224f336accd_ContentBits">
    <vt:lpwstr>2</vt:lpwstr>
  </property>
  <property fmtid="{D5CDD505-2E9C-101B-9397-08002B2CF9AE}" pid="9" name="ContentTypeId">
    <vt:lpwstr>0x010100FC8D8A59B4AA4848ADA4BE9476DACB43</vt:lpwstr>
  </property>
</Properties>
</file>